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84" r:id="rId3"/>
    <p:sldId id="258" r:id="rId4"/>
    <p:sldId id="285" r:id="rId5"/>
    <p:sldId id="270" r:id="rId6"/>
    <p:sldId id="279" r:id="rId7"/>
    <p:sldId id="280" r:id="rId8"/>
    <p:sldId id="271" r:id="rId9"/>
    <p:sldId id="274" r:id="rId10"/>
    <p:sldId id="275" r:id="rId11"/>
    <p:sldId id="276" r:id="rId12"/>
    <p:sldId id="277" r:id="rId13"/>
    <p:sldId id="272" r:id="rId14"/>
    <p:sldId id="290" r:id="rId15"/>
    <p:sldId id="291" r:id="rId16"/>
    <p:sldId id="294" r:id="rId17"/>
    <p:sldId id="273" r:id="rId18"/>
    <p:sldId id="261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8965"/>
    <a:srgbClr val="EF6291"/>
    <a:srgbClr val="28B5F5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6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6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gradFill flip="none" rotWithShape="1">
          <a:gsLst>
            <a:gs pos="0">
              <a:srgbClr val="002060"/>
            </a:gs>
            <a:gs pos="100000">
              <a:schemeClr val="tx1">
                <a:lumMod val="95000"/>
                <a:lumOff val="5000"/>
              </a:schemeClr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形 1">
            <a:extLst>
              <a:ext uri="{FF2B5EF4-FFF2-40B4-BE49-F238E27FC236}">
                <a16:creationId xmlns:a16="http://schemas.microsoft.com/office/drawing/2014/main" id="{1BEED23B-C8A7-4A9D-BC81-C3708795E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86954" y="152181"/>
            <a:ext cx="4843555" cy="5821809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4688" y="3417070"/>
            <a:ext cx="5421312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4688" y="1600201"/>
            <a:ext cx="5421312" cy="1577384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4688" y="4940892"/>
            <a:ext cx="54213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237163"/>
            <a:ext cx="54213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立方体 2">
            <a:extLst>
              <a:ext uri="{FF2B5EF4-FFF2-40B4-BE49-F238E27FC236}">
                <a16:creationId xmlns:a16="http://schemas.microsoft.com/office/drawing/2014/main" id="{2D7760E6-6CF8-4BC7-A210-2B672942675A}"/>
              </a:ext>
            </a:extLst>
          </p:cNvPr>
          <p:cNvSpPr/>
          <p:nvPr userDrawn="1"/>
        </p:nvSpPr>
        <p:spPr>
          <a:xfrm>
            <a:off x="11092543" y="3023958"/>
            <a:ext cx="283030" cy="283030"/>
          </a:xfrm>
          <a:prstGeom prst="cube">
            <a:avLst/>
          </a:prstGeom>
          <a:solidFill>
            <a:srgbClr val="EF62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立方体 7">
            <a:extLst>
              <a:ext uri="{FF2B5EF4-FFF2-40B4-BE49-F238E27FC236}">
                <a16:creationId xmlns:a16="http://schemas.microsoft.com/office/drawing/2014/main" id="{9D5BC4B5-A68B-47B6-A17F-914AE2CEF740}"/>
              </a:ext>
            </a:extLst>
          </p:cNvPr>
          <p:cNvSpPr/>
          <p:nvPr userDrawn="1"/>
        </p:nvSpPr>
        <p:spPr>
          <a:xfrm>
            <a:off x="4360182" y="4561114"/>
            <a:ext cx="315230" cy="315230"/>
          </a:xfrm>
          <a:prstGeom prst="cube">
            <a:avLst/>
          </a:prstGeom>
          <a:solidFill>
            <a:srgbClr val="28B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立方体 8">
            <a:extLst>
              <a:ext uri="{FF2B5EF4-FFF2-40B4-BE49-F238E27FC236}">
                <a16:creationId xmlns:a16="http://schemas.microsoft.com/office/drawing/2014/main" id="{088B96F1-46AB-48A3-AF57-CD1BABC99E4D}"/>
              </a:ext>
            </a:extLst>
          </p:cNvPr>
          <p:cNvSpPr/>
          <p:nvPr userDrawn="1"/>
        </p:nvSpPr>
        <p:spPr>
          <a:xfrm>
            <a:off x="5797097" y="3684811"/>
            <a:ext cx="179161" cy="179161"/>
          </a:xfrm>
          <a:prstGeom prst="cube">
            <a:avLst/>
          </a:prstGeom>
          <a:solidFill>
            <a:srgbClr val="FE8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6B42C4B-72DD-4DE8-877B-085C1F58124C}"/>
              </a:ext>
            </a:extLst>
          </p:cNvPr>
          <p:cNvSpPr/>
          <p:nvPr userDrawn="1"/>
        </p:nvSpPr>
        <p:spPr>
          <a:xfrm>
            <a:off x="669925" y="1028699"/>
            <a:ext cx="5152345" cy="5211763"/>
          </a:xfrm>
          <a:prstGeom prst="rect">
            <a:avLst/>
          </a:prstGeom>
          <a:gradFill>
            <a:gsLst>
              <a:gs pos="0">
                <a:srgbClr val="002060"/>
              </a:gs>
              <a:gs pos="100000">
                <a:schemeClr val="tx1">
                  <a:lumMod val="95000"/>
                  <a:lumOff val="5000"/>
                </a:schemeClr>
              </a:gs>
            </a:gsLst>
            <a:path path="shape">
              <a:fillToRect l="50000" t="50000" r="50000" b="5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117CADA8-DB70-4541-BA84-4B5A82EB17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3451" y="1028700"/>
            <a:ext cx="3885292" cy="4670005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292727" y="3474357"/>
            <a:ext cx="522776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293843" y="4369707"/>
            <a:ext cx="5227761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6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6/1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0">
              <a:srgbClr val="002060"/>
            </a:gs>
            <a:gs pos="100000">
              <a:schemeClr val="tx1">
                <a:lumMod val="95000"/>
                <a:lumOff val="500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4502C405-77E6-437A-9758-8DEA8BA7A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584" y="0"/>
            <a:ext cx="4519222" cy="5431971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357257" y="1852840"/>
            <a:ext cx="5054374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57257" y="4169961"/>
            <a:ext cx="505437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7259" y="3873690"/>
            <a:ext cx="50543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6/1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C7B0826-94B0-40EE-989B-540DFFC7E21B}"/>
              </a:ext>
            </a:extLst>
          </p:cNvPr>
          <p:cNvSpPr/>
          <p:nvPr/>
        </p:nvSpPr>
        <p:spPr>
          <a:xfrm>
            <a:off x="669925" y="3472543"/>
            <a:ext cx="2160361" cy="46808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96460" y="3427956"/>
            <a:ext cx="5421312" cy="558799"/>
          </a:xfrm>
        </p:spPr>
        <p:txBody>
          <a:bodyPr>
            <a:normAutofit/>
          </a:bodyPr>
          <a:lstStyle/>
          <a:p>
            <a:r>
              <a:rPr lang="zh-CN" altLang="en-US" sz="2400" b="1" dirty="0"/>
              <a:t>用户交互技术</a:t>
            </a:r>
            <a:endParaRPr lang="en-US" altLang="zh-CN" sz="2400" b="1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Unity 3D </a:t>
            </a:r>
            <a:r>
              <a:rPr lang="zh-CN" altLang="en-US" sz="4800" dirty="0"/>
              <a:t>塔防游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56795" y="4912439"/>
            <a:ext cx="5421312" cy="923584"/>
          </a:xfrm>
        </p:spPr>
        <p:txBody>
          <a:bodyPr/>
          <a:lstStyle/>
          <a:p>
            <a:endParaRPr lang="en-US" altLang="zh-CN" dirty="0"/>
          </a:p>
          <a:p>
            <a:r>
              <a:rPr lang="en-US" altLang="zh-CN" dirty="0"/>
              <a:t>1953729 </a:t>
            </a:r>
            <a:r>
              <a:rPr lang="zh-CN" altLang="en-US" dirty="0"/>
              <a:t>吴浩泽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B12C64-D7AA-4C85-9B1D-ADBAAD694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进入游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AE5B36F-77E4-111C-8EE1-022D808EF9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96" y="2146108"/>
            <a:ext cx="6325140" cy="3107290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81100993-0521-B3FF-ED94-D689B6C7AB58}"/>
              </a:ext>
            </a:extLst>
          </p:cNvPr>
          <p:cNvGrpSpPr/>
          <p:nvPr/>
        </p:nvGrpSpPr>
        <p:grpSpPr>
          <a:xfrm>
            <a:off x="7659835" y="1553975"/>
            <a:ext cx="3714291" cy="813516"/>
            <a:chOff x="1045238" y="1710268"/>
            <a:chExt cx="4565148" cy="956413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39F3359-490D-C2AE-17C2-821BE0CFE6FA}"/>
                </a:ext>
              </a:extLst>
            </p:cNvPr>
            <p:cNvSpPr/>
            <p:nvPr/>
          </p:nvSpPr>
          <p:spPr>
            <a:xfrm>
              <a:off x="1045238" y="2125439"/>
              <a:ext cx="4565148" cy="5412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进入到游戏界面可以看到左侧地图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6A4D90-3778-7133-114D-2622C1CCCA03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界面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6558A0AA-DA8B-9968-FFE9-2EF7B9B6A4D0}"/>
              </a:ext>
            </a:extLst>
          </p:cNvPr>
          <p:cNvGrpSpPr/>
          <p:nvPr/>
        </p:nvGrpSpPr>
        <p:grpSpPr>
          <a:xfrm>
            <a:off x="7604190" y="3070297"/>
            <a:ext cx="4089894" cy="3102197"/>
            <a:chOff x="1077909" y="3322894"/>
            <a:chExt cx="5297998" cy="4049651"/>
          </a:xfrm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1B9026F-FCCE-48C0-9271-B1016BB05AC3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3" name="Oval 25">
                <a:extLst>
                  <a:ext uri="{FF2B5EF4-FFF2-40B4-BE49-F238E27FC236}">
                    <a16:creationId xmlns:a16="http://schemas.microsoft.com/office/drawing/2014/main" id="{EA3D9F3A-DF43-63FB-8066-941F82A2E139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4" name="Group 21">
                <a:extLst>
                  <a:ext uri="{FF2B5EF4-FFF2-40B4-BE49-F238E27FC236}">
                    <a16:creationId xmlns:a16="http://schemas.microsoft.com/office/drawing/2014/main" id="{04AC09B4-D797-21DD-DBE2-155412B3599C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5" name="Freeform 124">
                  <a:extLst>
                    <a:ext uri="{FF2B5EF4-FFF2-40B4-BE49-F238E27FC236}">
                      <a16:creationId xmlns:a16="http://schemas.microsoft.com/office/drawing/2014/main" id="{84638861-24BC-9BB3-5D13-65059DD86F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reeform 125">
                  <a:extLst>
                    <a:ext uri="{FF2B5EF4-FFF2-40B4-BE49-F238E27FC236}">
                      <a16:creationId xmlns:a16="http://schemas.microsoft.com/office/drawing/2014/main" id="{FF190217-EAEC-A380-530E-5FAA1D98D0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126">
                  <a:extLst>
                    <a:ext uri="{FF2B5EF4-FFF2-40B4-BE49-F238E27FC236}">
                      <a16:creationId xmlns:a16="http://schemas.microsoft.com/office/drawing/2014/main" id="{9539DF1E-C3A7-1128-9D65-1FBD2FC42C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7C457A47-399F-A5C2-2161-9E54FEFCDFB3}"/>
                </a:ext>
              </a:extLst>
            </p:cNvPr>
            <p:cNvSpPr txBox="1"/>
            <p:nvPr/>
          </p:nvSpPr>
          <p:spPr>
            <a:xfrm>
              <a:off x="1942888" y="3740571"/>
              <a:ext cx="4433019" cy="363197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左上方的敌人生成点</a:t>
              </a:r>
              <a:r>
                <a:rPr lang="zh-CN" altLang="en-US" b="0" u="none" dirty="0"/>
                <a:t>；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右下方的我方生命点</a:t>
              </a:r>
              <a:r>
                <a:rPr lang="zh-CN" altLang="en-US" b="0" u="none" dirty="0"/>
                <a:t>；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敌人将从生成点产生、并向着我方生命点前进</a:t>
              </a:r>
              <a:r>
                <a:rPr lang="en-US" altLang="zh-CN" b="0" u="none" dirty="0"/>
                <a:t>;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玩家需要通过创建“炮台”来阻挡敌方的前进</a:t>
              </a:r>
              <a:r>
                <a:rPr lang="en-US" altLang="zh-CN" b="0" u="none" dirty="0"/>
                <a:t>;</a:t>
              </a:r>
            </a:p>
            <a:p>
              <a:pPr marL="285750" indent="-285750">
                <a:lnSpc>
                  <a:spcPct val="150000"/>
                </a:lnSpc>
                <a:buChar char="•"/>
                <a:defRPr/>
              </a:pPr>
              <a:r>
                <a:rPr b="0" u="none" dirty="0" err="1"/>
                <a:t>当消灭所有敌人时游戏获得胜利，当</a:t>
              </a:r>
              <a:r>
                <a:rPr lang="zh-CN" altLang="en-US" b="0" u="none" dirty="0"/>
                <a:t>敌方入侵</a:t>
              </a:r>
              <a:r>
                <a:rPr b="0" u="none" dirty="0" err="1"/>
                <a:t>我方</a:t>
              </a:r>
              <a:r>
                <a:rPr lang="zh-CN" altLang="en-US" b="0" u="none" dirty="0"/>
                <a:t>生命点</a:t>
              </a:r>
              <a:r>
                <a:rPr b="0" u="none" dirty="0" err="1"/>
                <a:t>时游戏失败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12" name="TextBox 7">
              <a:extLst>
                <a:ext uri="{FF2B5EF4-FFF2-40B4-BE49-F238E27FC236}">
                  <a16:creationId xmlns:a16="http://schemas.microsoft.com/office/drawing/2014/main" id="{AAC32464-5291-886A-EE19-7750096699B2}"/>
                </a:ext>
              </a:extLst>
            </p:cNvPr>
            <p:cNvSpPr txBox="1"/>
            <p:nvPr/>
          </p:nvSpPr>
          <p:spPr>
            <a:xfrm>
              <a:off x="1942888" y="3322894"/>
              <a:ext cx="1747979" cy="4721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开始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63643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4EE8AF-6BE0-4331-BA83-DEE59042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操作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17EBCC4-3192-6E51-B380-838A9A8CCE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376998"/>
            <a:ext cx="1160205" cy="440877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A659B8D-E444-4F24-A5D8-65118126C2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824" y="2741735"/>
            <a:ext cx="3364381" cy="1793629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820AB8E2-9C38-F6BA-311E-179FC9A1A4FA}"/>
              </a:ext>
            </a:extLst>
          </p:cNvPr>
          <p:cNvGrpSpPr/>
          <p:nvPr/>
        </p:nvGrpSpPr>
        <p:grpSpPr>
          <a:xfrm>
            <a:off x="6924155" y="1376998"/>
            <a:ext cx="4596332" cy="1083597"/>
            <a:chOff x="1045238" y="1710268"/>
            <a:chExt cx="5649244" cy="1273934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A592E6F-79A0-F5C8-2375-46A8AA336AB0}"/>
                </a:ext>
              </a:extLst>
            </p:cNvPr>
            <p:cNvSpPr/>
            <p:nvPr/>
          </p:nvSpPr>
          <p:spPr>
            <a:xfrm>
              <a:off x="1045238" y="2125439"/>
              <a:ext cx="5649244" cy="8587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266700"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   </a:t>
              </a:r>
              <a:r>
                <a:rPr lang="zh-CN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玩家可以在游戏界面的右侧边栏中看到资金数额。这些资金用于建造和升级</a:t>
              </a:r>
              <a:r>
                <a:rPr lang="zh-CN" altLang="en-US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炮台</a:t>
              </a:r>
              <a:r>
                <a:rPr lang="zh-CN" altLang="zh-CN" sz="1800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。</a:t>
              </a:r>
              <a:endParaRPr lang="zh-CN" altLang="zh-CN" sz="1800" dirty="0">
                <a:effectLst/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9" name="TextBox 7">
              <a:extLst>
                <a:ext uri="{FF2B5EF4-FFF2-40B4-BE49-F238E27FC236}">
                  <a16:creationId xmlns:a16="http://schemas.microsoft.com/office/drawing/2014/main" id="{0BA42ADB-AB81-337C-B7A1-EC2364AE0856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货币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9E60B42B-5016-AF20-1D06-01DBAB756A27}"/>
              </a:ext>
            </a:extLst>
          </p:cNvPr>
          <p:cNvGrpSpPr/>
          <p:nvPr/>
        </p:nvGrpSpPr>
        <p:grpSpPr>
          <a:xfrm>
            <a:off x="6868510" y="2893318"/>
            <a:ext cx="4890126" cy="1511002"/>
            <a:chOff x="1077909" y="3322893"/>
            <a:chExt cx="6334608" cy="1972484"/>
          </a:xfrm>
        </p:grpSpPr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30A4E72-3DB2-CABE-A181-CDB7B518C6BB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4" name="Oval 25">
                <a:extLst>
                  <a:ext uri="{FF2B5EF4-FFF2-40B4-BE49-F238E27FC236}">
                    <a16:creationId xmlns:a16="http://schemas.microsoft.com/office/drawing/2014/main" id="{E9DE0D2D-DC66-75EB-693F-4D4FE041F827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5" name="Group 21">
                <a:extLst>
                  <a:ext uri="{FF2B5EF4-FFF2-40B4-BE49-F238E27FC236}">
                    <a16:creationId xmlns:a16="http://schemas.microsoft.com/office/drawing/2014/main" id="{97400C71-5393-2A40-EDD7-99B71D0DB9B4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6" name="Freeform 124">
                  <a:extLst>
                    <a:ext uri="{FF2B5EF4-FFF2-40B4-BE49-F238E27FC236}">
                      <a16:creationId xmlns:a16="http://schemas.microsoft.com/office/drawing/2014/main" id="{15D8F54C-2FCF-60DD-A036-D3544587D5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125">
                  <a:extLst>
                    <a:ext uri="{FF2B5EF4-FFF2-40B4-BE49-F238E27FC236}">
                      <a16:creationId xmlns:a16="http://schemas.microsoft.com/office/drawing/2014/main" id="{CB9EA6BD-655A-27C5-FD73-6F0A85BE55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126">
                  <a:extLst>
                    <a:ext uri="{FF2B5EF4-FFF2-40B4-BE49-F238E27FC236}">
                      <a16:creationId xmlns:a16="http://schemas.microsoft.com/office/drawing/2014/main" id="{FE27F67F-7352-8BDD-950B-5F6E13CEA6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7463977D-5653-B5C5-4080-584F21424C68}"/>
                </a:ext>
              </a:extLst>
            </p:cNvPr>
            <p:cNvSpPr txBox="1"/>
            <p:nvPr/>
          </p:nvSpPr>
          <p:spPr>
            <a:xfrm>
              <a:off x="1949351" y="3785202"/>
              <a:ext cx="5463166" cy="15101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4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炮台用于攻击、阻挡敌人，合理的使用炮台是游戏获胜的关键</a:t>
              </a:r>
              <a:r>
                <a:rPr lang="zh-CN" altLang="en-US" sz="1800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。</a:t>
              </a:r>
              <a:endParaRPr lang="zh-CN" altLang="en-US" sz="18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13" name="TextBox 7">
              <a:extLst>
                <a:ext uri="{FF2B5EF4-FFF2-40B4-BE49-F238E27FC236}">
                  <a16:creationId xmlns:a16="http://schemas.microsoft.com/office/drawing/2014/main" id="{7079EF2C-11A4-4E90-4DDD-415C07712BDB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建造炮台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53B97BA2-36F1-5275-5FDC-B8BEE69C8EC6}"/>
              </a:ext>
            </a:extLst>
          </p:cNvPr>
          <p:cNvGrpSpPr/>
          <p:nvPr/>
        </p:nvGrpSpPr>
        <p:grpSpPr>
          <a:xfrm>
            <a:off x="6868510" y="4217371"/>
            <a:ext cx="4890126" cy="2071681"/>
            <a:chOff x="1093000" y="4777595"/>
            <a:chExt cx="6230093" cy="2693383"/>
          </a:xfrm>
        </p:grpSpPr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3403F74A-F1FE-B0B2-4C6D-7CE774D3F7E8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8" name="Oval 26">
                <a:extLst>
                  <a:ext uri="{FF2B5EF4-FFF2-40B4-BE49-F238E27FC236}">
                    <a16:creationId xmlns:a16="http://schemas.microsoft.com/office/drawing/2014/main" id="{C300027E-B6C3-9342-9619-8EA626B3CFC9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9" name="Group 18">
                <a:extLst>
                  <a:ext uri="{FF2B5EF4-FFF2-40B4-BE49-F238E27FC236}">
                    <a16:creationId xmlns:a16="http://schemas.microsoft.com/office/drawing/2014/main" id="{05C8DDE3-BABF-77A5-0FFB-BA508C54F64B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50" name="Freeform 82">
                  <a:extLst>
                    <a:ext uri="{FF2B5EF4-FFF2-40B4-BE49-F238E27FC236}">
                      <a16:creationId xmlns:a16="http://schemas.microsoft.com/office/drawing/2014/main" id="{111FF756-2711-E3B8-9270-71BED03A9C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83">
                  <a:extLst>
                    <a:ext uri="{FF2B5EF4-FFF2-40B4-BE49-F238E27FC236}">
                      <a16:creationId xmlns:a16="http://schemas.microsoft.com/office/drawing/2014/main" id="{4929ABA8-FC50-6F7B-C4EE-1F3B8022E2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1E4AA019-2F95-DF87-8E87-47AB776694F6}"/>
                </a:ext>
              </a:extLst>
            </p:cNvPr>
            <p:cNvSpPr txBox="1"/>
            <p:nvPr/>
          </p:nvSpPr>
          <p:spPr>
            <a:xfrm>
              <a:off x="1943708" y="5299724"/>
              <a:ext cx="5379385" cy="21712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玩家可以升级或拆除已经创建的炮塔。点击选择炮台，可以看到升级和移除按钮。</a:t>
              </a:r>
              <a:endPara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单击升级按钮，如果当前金额大于升级所需的金额，则可以完成堡垒升级。</a:t>
              </a:r>
              <a:endPara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点击“移除”移除已建造的堡垒并返还部分资金</a:t>
              </a:r>
            </a:p>
          </p:txBody>
        </p:sp>
        <p:sp>
          <p:nvSpPr>
            <p:cNvPr id="47" name="TextBox 7">
              <a:extLst>
                <a:ext uri="{FF2B5EF4-FFF2-40B4-BE49-F238E27FC236}">
                  <a16:creationId xmlns:a16="http://schemas.microsoft.com/office/drawing/2014/main" id="{C002AF99-6F0B-3E1C-F1C5-68E817668BDC}"/>
                </a:ext>
              </a:extLst>
            </p:cNvPr>
            <p:cNvSpPr txBox="1"/>
            <p:nvPr/>
          </p:nvSpPr>
          <p:spPr>
            <a:xfrm>
              <a:off x="1945921" y="4777595"/>
              <a:ext cx="3107115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升级或拆除炮台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4906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0C1184-3D0C-4EE3-AA04-B9B90D32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退出与结束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0DB41F3-BCE6-A7D7-A5AC-7A0DCCE720A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75" r="82169" b="73261"/>
          <a:stretch/>
        </p:blipFill>
        <p:spPr>
          <a:xfrm>
            <a:off x="2405344" y="1592826"/>
            <a:ext cx="1771600" cy="132046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20D2658F-010D-77BF-6A44-E87FF3A53E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44" y="3477414"/>
            <a:ext cx="2806700" cy="188214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9A75D2C-93DC-CA3D-DC80-23809FF934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095" y="3477415"/>
            <a:ext cx="2598700" cy="1882140"/>
          </a:xfrm>
          <a:prstGeom prst="rect">
            <a:avLst/>
          </a:prstGeom>
        </p:spPr>
      </p:pic>
      <p:grpSp>
        <p:nvGrpSpPr>
          <p:cNvPr id="8" name="组合 7">
            <a:extLst>
              <a:ext uri="{FF2B5EF4-FFF2-40B4-BE49-F238E27FC236}">
                <a16:creationId xmlns:a16="http://schemas.microsoft.com/office/drawing/2014/main" id="{B270A715-BD7F-199A-7492-B934E10B5077}"/>
              </a:ext>
            </a:extLst>
          </p:cNvPr>
          <p:cNvGrpSpPr/>
          <p:nvPr/>
        </p:nvGrpSpPr>
        <p:grpSpPr>
          <a:xfrm>
            <a:off x="6924155" y="1377000"/>
            <a:ext cx="4596332" cy="1086612"/>
            <a:chOff x="1045238" y="1710268"/>
            <a:chExt cx="5649244" cy="1277478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27532BBF-BCE8-A7AB-5C3B-2A32F102959C}"/>
                </a:ext>
              </a:extLst>
            </p:cNvPr>
            <p:cNvSpPr/>
            <p:nvPr/>
          </p:nvSpPr>
          <p:spPr>
            <a:xfrm>
              <a:off x="1045238" y="2125439"/>
              <a:ext cx="5649244" cy="8623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266700"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dirty="0">
                  <a:solidFill>
                    <a:srgbClr val="000000"/>
                  </a:solidFill>
                  <a:latin typeface="Times New Roman" panose="02020603050405020304" pitchFamily="18" charset="0"/>
                  <a:ea typeface="宋体" panose="02010600030101010101" pitchFamily="2" charset="-122"/>
                  <a:cs typeface="Times New Roman" panose="02020603050405020304" pitchFamily="18" charset="0"/>
                </a:rPr>
                <a:t>玩家可以主动退出游戏或在游戏结束后选择重玩或返回。</a:t>
              </a:r>
              <a:endParaRPr lang="zh-CN" altLang="zh-CN" sz="1800" dirty="0">
                <a:effectLst/>
                <a:latin typeface="Calibri" panose="020F050202020403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0" name="TextBox 7">
              <a:extLst>
                <a:ext uri="{FF2B5EF4-FFF2-40B4-BE49-F238E27FC236}">
                  <a16:creationId xmlns:a16="http://schemas.microsoft.com/office/drawing/2014/main" id="{A7C6F640-AECE-52E1-3D9C-8D1FD1EFD64E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结束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474B9AB-1D85-5040-9CA9-C29DEBCA7E27}"/>
              </a:ext>
            </a:extLst>
          </p:cNvPr>
          <p:cNvGrpSpPr/>
          <p:nvPr/>
        </p:nvGrpSpPr>
        <p:grpSpPr>
          <a:xfrm>
            <a:off x="6868510" y="2893322"/>
            <a:ext cx="4890126" cy="1141670"/>
            <a:chOff x="1077909" y="3322893"/>
            <a:chExt cx="6334608" cy="1490350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DB70A2C-380A-20E8-EC1C-177C8E301412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15" name="Oval 25">
                <a:extLst>
                  <a:ext uri="{FF2B5EF4-FFF2-40B4-BE49-F238E27FC236}">
                    <a16:creationId xmlns:a16="http://schemas.microsoft.com/office/drawing/2014/main" id="{C7FB9932-2A8F-18CD-33C2-CE25B1053749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16" name="Group 21">
                <a:extLst>
                  <a:ext uri="{FF2B5EF4-FFF2-40B4-BE49-F238E27FC236}">
                    <a16:creationId xmlns:a16="http://schemas.microsoft.com/office/drawing/2014/main" id="{B37040CB-1906-CEB4-BAB9-FA80C6F79882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17" name="Freeform 124">
                  <a:extLst>
                    <a:ext uri="{FF2B5EF4-FFF2-40B4-BE49-F238E27FC236}">
                      <a16:creationId xmlns:a16="http://schemas.microsoft.com/office/drawing/2014/main" id="{08269B42-7648-DCA4-CB20-491E1608BFF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125">
                  <a:extLst>
                    <a:ext uri="{FF2B5EF4-FFF2-40B4-BE49-F238E27FC236}">
                      <a16:creationId xmlns:a16="http://schemas.microsoft.com/office/drawing/2014/main" id="{3F128CA6-FABE-1374-2687-9304595456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126">
                  <a:extLst>
                    <a:ext uri="{FF2B5EF4-FFF2-40B4-BE49-F238E27FC236}">
                      <a16:creationId xmlns:a16="http://schemas.microsoft.com/office/drawing/2014/main" id="{D3F70B69-7866-6931-35E8-CC317845E0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BC9B936A-576D-F7CA-6934-1F279DD8FA18}"/>
                </a:ext>
              </a:extLst>
            </p:cNvPr>
            <p:cNvSpPr txBox="1"/>
            <p:nvPr/>
          </p:nvSpPr>
          <p:spPr>
            <a:xfrm>
              <a:off x="1949351" y="3785201"/>
              <a:ext cx="5463166" cy="10280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用户可以在游戏界面的左上角看到“退出”按钮。单击“退出”，用户可以退出游戏。</a:t>
              </a:r>
            </a:p>
          </p:txBody>
        </p:sp>
        <p:sp>
          <p:nvSpPr>
            <p:cNvPr id="14" name="TextBox 7">
              <a:extLst>
                <a:ext uri="{FF2B5EF4-FFF2-40B4-BE49-F238E27FC236}">
                  <a16:creationId xmlns:a16="http://schemas.microsoft.com/office/drawing/2014/main" id="{568892AA-1720-3524-BC8E-EEAB21E5C0C8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退出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2AACDB55-76AE-6E41-4E54-7034D5BF1769}"/>
              </a:ext>
            </a:extLst>
          </p:cNvPr>
          <p:cNvGrpSpPr/>
          <p:nvPr/>
        </p:nvGrpSpPr>
        <p:grpSpPr>
          <a:xfrm>
            <a:off x="6868510" y="4217368"/>
            <a:ext cx="4890126" cy="1425350"/>
            <a:chOff x="1093000" y="4777595"/>
            <a:chExt cx="6230093" cy="1853092"/>
          </a:xfrm>
        </p:grpSpPr>
        <p:grpSp>
          <p:nvGrpSpPr>
            <p:cNvPr id="38" name="组合 37">
              <a:extLst>
                <a:ext uri="{FF2B5EF4-FFF2-40B4-BE49-F238E27FC236}">
                  <a16:creationId xmlns:a16="http://schemas.microsoft.com/office/drawing/2014/main" id="{56788924-FAF9-0AB7-3795-071C7C2710D0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1" name="Oval 26">
                <a:extLst>
                  <a:ext uri="{FF2B5EF4-FFF2-40B4-BE49-F238E27FC236}">
                    <a16:creationId xmlns:a16="http://schemas.microsoft.com/office/drawing/2014/main" id="{60E86625-02C9-7E4A-F8E5-81F3F9282ADD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2" name="Group 18">
                <a:extLst>
                  <a:ext uri="{FF2B5EF4-FFF2-40B4-BE49-F238E27FC236}">
                    <a16:creationId xmlns:a16="http://schemas.microsoft.com/office/drawing/2014/main" id="{EBFBC6F9-D570-56B2-6798-C79558FA505E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43" name="Freeform 82">
                  <a:extLst>
                    <a:ext uri="{FF2B5EF4-FFF2-40B4-BE49-F238E27FC236}">
                      <a16:creationId xmlns:a16="http://schemas.microsoft.com/office/drawing/2014/main" id="{CAF590AE-3C62-841B-F4AC-7422C0D555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83">
                  <a:extLst>
                    <a:ext uri="{FF2B5EF4-FFF2-40B4-BE49-F238E27FC236}">
                      <a16:creationId xmlns:a16="http://schemas.microsoft.com/office/drawing/2014/main" id="{96448F6B-A78B-F6DC-9324-917C4A3C39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9D9087FC-23DD-FCDE-E634-D5BC10BC8AB3}"/>
                </a:ext>
              </a:extLst>
            </p:cNvPr>
            <p:cNvSpPr txBox="1"/>
            <p:nvPr/>
          </p:nvSpPr>
          <p:spPr>
            <a:xfrm>
              <a:off x="1943708" y="5299724"/>
              <a:ext cx="5379385" cy="13309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kumimoji="0" lang="zh-CN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+mn-ea"/>
                  <a:sym typeface="+mn-lt"/>
                </a:rPr>
                <a:t>在当前级别中已经设计了五波敌人。如果所有敌人都被击败，游戏就会获胜；如果有敌人进入主场，比赛就会失败。</a:t>
              </a:r>
            </a:p>
          </p:txBody>
        </p:sp>
        <p:sp>
          <p:nvSpPr>
            <p:cNvPr id="40" name="TextBox 7">
              <a:extLst>
                <a:ext uri="{FF2B5EF4-FFF2-40B4-BE49-F238E27FC236}">
                  <a16:creationId xmlns:a16="http://schemas.microsoft.com/office/drawing/2014/main" id="{52500FC5-8FE9-E8D1-779C-166144EABA45}"/>
                </a:ext>
              </a:extLst>
            </p:cNvPr>
            <p:cNvSpPr txBox="1"/>
            <p:nvPr/>
          </p:nvSpPr>
          <p:spPr>
            <a:xfrm>
              <a:off x="1945921" y="4777595"/>
              <a:ext cx="3107115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000" b="1" i="0" u="none" strike="noStrike" kern="1200" cap="none" spc="0" normalizeH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思源宋体 CN Medium" charset="0"/>
                  <a:ea typeface="思源宋体 CN Medium" panose="02020500000000000000" pitchFamily="18" charset="-122"/>
                  <a:cs typeface="+mn-ea"/>
                  <a:sym typeface="+mn-lt"/>
                </a:rPr>
                <a:t>游戏结束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13082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用户交互设计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854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125917-B2CA-4CC0-BE37-2D886932C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玩家视角移动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E4F67B6-D82C-6F8E-65CF-E32EF7AED260}"/>
              </a:ext>
            </a:extLst>
          </p:cNvPr>
          <p:cNvSpPr txBox="1"/>
          <p:nvPr/>
        </p:nvSpPr>
        <p:spPr>
          <a:xfrm>
            <a:off x="2133600" y="1722543"/>
            <a:ext cx="7433187" cy="7304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用户可以使用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WSAD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和上、下、左、右箭头键来控制透视图的移动，从而实现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Arial" panose="020B0604020202020204" pitchFamily="34" charset="0"/>
              </a:rPr>
              <a:t>3D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效果。用户还可以通过鼠标滚轮放大和缩小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9F4D150-551E-1775-1EBE-5ADD351E6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607" y="3146842"/>
            <a:ext cx="4857135" cy="273213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983A226-1679-8EB6-A375-DF1F2883C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1807" y="3146842"/>
            <a:ext cx="4857135" cy="2732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26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7C3B4D-0BBC-4C36-8AAB-1A94C3B38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炮台和角色的放置</a:t>
            </a: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5C6D8C84-199D-02FC-9D71-C97AFD6E87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705"/>
          <a:stretch/>
        </p:blipFill>
        <p:spPr>
          <a:xfrm>
            <a:off x="7842386" y="1146034"/>
            <a:ext cx="1242168" cy="3772888"/>
          </a:xfrm>
          <a:prstGeom prst="rect">
            <a:avLst/>
          </a:prstGeom>
        </p:spPr>
      </p:pic>
      <p:pic>
        <p:nvPicPr>
          <p:cNvPr id="38" name="图片 37">
            <a:extLst>
              <a:ext uri="{FF2B5EF4-FFF2-40B4-BE49-F238E27FC236}">
                <a16:creationId xmlns:a16="http://schemas.microsoft.com/office/drawing/2014/main" id="{A54E4ED3-F578-0371-CE8E-430AE01BEB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4853" y="5210568"/>
            <a:ext cx="1339701" cy="1028699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352B6248-B250-C58A-01B6-0C8882CC816B}"/>
              </a:ext>
            </a:extLst>
          </p:cNvPr>
          <p:cNvSpPr txBox="1"/>
          <p:nvPr/>
        </p:nvSpPr>
        <p:spPr>
          <a:xfrm>
            <a:off x="998070" y="4171872"/>
            <a:ext cx="48828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然后，将鼠标移动到地图上的正方形上。当正方形变为红色时，表示该正方形已被选中。如果有足够的钱，点击广场放置堡垒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6218FD5A-FF33-3F44-D9A2-475914AC5080}"/>
              </a:ext>
            </a:extLst>
          </p:cNvPr>
          <p:cNvSpPr txBox="1"/>
          <p:nvPr/>
        </p:nvSpPr>
        <p:spPr>
          <a:xfrm>
            <a:off x="998070" y="1952990"/>
            <a:ext cx="520608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在游戏界面中，玩家通过点击鼠标选择要放置的堡垒。点击后，所选</a:t>
            </a:r>
            <a:r>
              <a:rPr lang="zh-CN" altLang="en-US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炮台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背景颜色发生变化，表明该堡垒已被选中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1174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攻击效果和血条</a:t>
            </a: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BDEB28EF-288E-402E-4CB4-6E357CA0EB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0253" y="3429000"/>
            <a:ext cx="2643100" cy="2328028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45FFC706-549E-FA80-2D24-23B150CBF6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580" y="3429000"/>
            <a:ext cx="6457426" cy="2338034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E3D88AA7-679C-0824-7932-EE68CC9CC584}"/>
              </a:ext>
            </a:extLst>
          </p:cNvPr>
          <p:cNvSpPr txBox="1"/>
          <p:nvPr/>
        </p:nvSpPr>
        <p:spPr>
          <a:xfrm>
            <a:off x="1828800" y="1848068"/>
            <a:ext cx="868188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    在游戏中玩家可以清晰地看到炮弹和激光攻击怪物时产生的特效，并看到怪物血量减少，这些是对玩家来说重要的反馈，玩家通过血条的减少的快慢可以判断游戏下一步该如何决策等等。</a:t>
            </a:r>
          </a:p>
        </p:txBody>
      </p:sp>
    </p:spTree>
    <p:extLst>
      <p:ext uri="{BB962C8B-B14F-4D97-AF65-F5344CB8AC3E}">
        <p14:creationId xmlns:p14="http://schemas.microsoft.com/office/powerpoint/2010/main" val="970001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演示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321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386753" y="2618245"/>
            <a:ext cx="5054374" cy="1621509"/>
          </a:xfrm>
        </p:spPr>
        <p:txBody>
          <a:bodyPr>
            <a:normAutofit/>
          </a:bodyPr>
          <a:lstStyle/>
          <a:p>
            <a:r>
              <a:rPr lang="zh-CN" altLang="en-US" sz="7200" dirty="0"/>
              <a:t>感谢聆听</a:t>
            </a:r>
            <a:br>
              <a:rPr lang="en-US" altLang="zh-CN" dirty="0"/>
            </a:br>
            <a:r>
              <a:rPr lang="zh-CN" altLang="en-US" sz="2800" dirty="0"/>
              <a:t>请老师批评指正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238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123946"/>
            <a:ext cx="12177677" cy="5769377"/>
            <a:chOff x="0" y="1123950"/>
            <a:chExt cx="12177676" cy="5769377"/>
          </a:xfrm>
        </p:grpSpPr>
        <p:grpSp>
          <p:nvGrpSpPr>
            <p:cNvPr id="3" name="ïṣ1iḓè">
              <a:extLst>
                <a:ext uri="{FF2B5EF4-FFF2-40B4-BE49-F238E27FC236}">
                  <a16:creationId xmlns:a16="http://schemas.microsoft.com/office/drawing/2014/main" id="{99044E65-71C2-4B92-8DDC-1AD787D09245}"/>
                </a:ext>
              </a:extLst>
            </p:cNvPr>
            <p:cNvGrpSpPr/>
            <p:nvPr/>
          </p:nvGrpSpPr>
          <p:grpSpPr>
            <a:xfrm>
              <a:off x="0" y="4452499"/>
              <a:ext cx="12177676" cy="2440828"/>
              <a:chOff x="0" y="4466341"/>
              <a:chExt cx="9144000" cy="1832773"/>
            </a:xfrm>
          </p:grpSpPr>
          <p:sp>
            <p:nvSpPr>
              <p:cNvPr id="22" name="íṡľîdê">
                <a:extLst>
                  <a:ext uri="{FF2B5EF4-FFF2-40B4-BE49-F238E27FC236}">
                    <a16:creationId xmlns:a16="http://schemas.microsoft.com/office/drawing/2014/main" id="{C96AB7A6-6F11-47F9-A08C-BEE0B06BA360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3" name="íṩlîḋé">
                <a:extLst>
                  <a:ext uri="{FF2B5EF4-FFF2-40B4-BE49-F238E27FC236}">
                    <a16:creationId xmlns:a16="http://schemas.microsoft.com/office/drawing/2014/main" id="{0235A7A7-B055-43F4-808D-987A934AB16E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4" name="íṧḷïdê">
                <a:extLst>
                  <a:ext uri="{FF2B5EF4-FFF2-40B4-BE49-F238E27FC236}">
                    <a16:creationId xmlns:a16="http://schemas.microsoft.com/office/drawing/2014/main" id="{2BFFCD75-73D8-4335-B57B-3F31CF8EA2AA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5" name="išľíḋê">
                <a:extLst>
                  <a:ext uri="{FF2B5EF4-FFF2-40B4-BE49-F238E27FC236}">
                    <a16:creationId xmlns:a16="http://schemas.microsoft.com/office/drawing/2014/main" id="{A20A5A27-E3A3-48AB-92CF-1E6178DF0008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6" name="ï$ḻídé">
                <a:extLst>
                  <a:ext uri="{FF2B5EF4-FFF2-40B4-BE49-F238E27FC236}">
                    <a16:creationId xmlns:a16="http://schemas.microsoft.com/office/drawing/2014/main" id="{AFCBC4F1-1055-4876-9F57-6E2A4FE12B01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27" name="ïŝlíḋê">
                <a:extLst>
                  <a:ext uri="{FF2B5EF4-FFF2-40B4-BE49-F238E27FC236}">
                    <a16:creationId xmlns:a16="http://schemas.microsoft.com/office/drawing/2014/main" id="{7B67B1F2-C009-483C-AF02-AF7CD9CC0600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28" name="ïSļîḍê">
                <a:extLst>
                  <a:ext uri="{FF2B5EF4-FFF2-40B4-BE49-F238E27FC236}">
                    <a16:creationId xmlns:a16="http://schemas.microsoft.com/office/drawing/2014/main" id="{BC971B8A-D9C2-4DD4-9715-E1BF4770DCFD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29" name="ïşḷïḑe">
                <a:extLst>
                  <a:ext uri="{FF2B5EF4-FFF2-40B4-BE49-F238E27FC236}">
                    <a16:creationId xmlns:a16="http://schemas.microsoft.com/office/drawing/2014/main" id="{A0E8778B-4382-4CAE-954E-7697FD0E38F4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0" name="iṡļîḓé">
                <a:extLst>
                  <a:ext uri="{FF2B5EF4-FFF2-40B4-BE49-F238E27FC236}">
                    <a16:creationId xmlns:a16="http://schemas.microsoft.com/office/drawing/2014/main" id="{4EAA081C-D4C3-49C3-8999-3ADC5B68EAA7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1" name="íS1îḑê">
                <a:extLst>
                  <a:ext uri="{FF2B5EF4-FFF2-40B4-BE49-F238E27FC236}">
                    <a16:creationId xmlns:a16="http://schemas.microsoft.com/office/drawing/2014/main" id="{13431743-9C0F-4F93-B715-A6A7A5293D14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2" name="işľîḓé">
                <a:extLst>
                  <a:ext uri="{FF2B5EF4-FFF2-40B4-BE49-F238E27FC236}">
                    <a16:creationId xmlns:a16="http://schemas.microsoft.com/office/drawing/2014/main" id="{DE94EF8D-D402-4448-8F36-C78900E43B27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33" name="î$ľïḋe">
                <a:extLst>
                  <a:ext uri="{FF2B5EF4-FFF2-40B4-BE49-F238E27FC236}">
                    <a16:creationId xmlns:a16="http://schemas.microsoft.com/office/drawing/2014/main" id="{A7914C39-7FFF-4625-8F62-A3561D395C37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4" name="íṩľîḍè">
                <a:extLst>
                  <a:ext uri="{FF2B5EF4-FFF2-40B4-BE49-F238E27FC236}">
                    <a16:creationId xmlns:a16="http://schemas.microsoft.com/office/drawing/2014/main" id="{376A8BEC-9D7C-4711-820C-E7882ADBEFDA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5" name="iSļîḍé">
                <a:extLst>
                  <a:ext uri="{FF2B5EF4-FFF2-40B4-BE49-F238E27FC236}">
                    <a16:creationId xmlns:a16="http://schemas.microsoft.com/office/drawing/2014/main" id="{83CE5A90-E7A3-40C4-AF9A-B2CCE17A1389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6" name="ï$ḻîďè">
                <a:extLst>
                  <a:ext uri="{FF2B5EF4-FFF2-40B4-BE49-F238E27FC236}">
                    <a16:creationId xmlns:a16="http://schemas.microsoft.com/office/drawing/2014/main" id="{5ECFB45B-C0BE-4D47-8927-C2688F9BC984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7" name="î$ľîḑè">
                <a:extLst>
                  <a:ext uri="{FF2B5EF4-FFF2-40B4-BE49-F238E27FC236}">
                    <a16:creationId xmlns:a16="http://schemas.microsoft.com/office/drawing/2014/main" id="{5511EAEE-6F34-47C0-B55E-003AFDC42AF0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38" name="íśliḍè">
                <a:extLst>
                  <a:ext uri="{FF2B5EF4-FFF2-40B4-BE49-F238E27FC236}">
                    <a16:creationId xmlns:a16="http://schemas.microsoft.com/office/drawing/2014/main" id="{BD52D1FA-6B93-4BBB-AA76-6639FB421281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39" name="îSlîḋè">
                <a:extLst>
                  <a:ext uri="{FF2B5EF4-FFF2-40B4-BE49-F238E27FC236}">
                    <a16:creationId xmlns:a16="http://schemas.microsoft.com/office/drawing/2014/main" id="{0B15C851-F157-4A57-BC95-4B7A4313914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/>
              </a:p>
            </p:txBody>
          </p:sp>
          <p:sp>
            <p:nvSpPr>
              <p:cNvPr id="40" name="iŝļïḋé">
                <a:extLst>
                  <a:ext uri="{FF2B5EF4-FFF2-40B4-BE49-F238E27FC236}">
                    <a16:creationId xmlns:a16="http://schemas.microsoft.com/office/drawing/2014/main" id="{24B91648-F27B-4881-A656-9EE49B9927C7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1" name="iṩļîḑè">
                <a:extLst>
                  <a:ext uri="{FF2B5EF4-FFF2-40B4-BE49-F238E27FC236}">
                    <a16:creationId xmlns:a16="http://schemas.microsoft.com/office/drawing/2014/main" id="{7D1C52A3-3E7F-4F08-A48E-09ECEE8091AA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2" name="îšliḋê">
                <a:extLst>
                  <a:ext uri="{FF2B5EF4-FFF2-40B4-BE49-F238E27FC236}">
                    <a16:creationId xmlns:a16="http://schemas.microsoft.com/office/drawing/2014/main" id="{92559AA5-08DB-44A7-8194-5EFE8D5DE668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3" name="îŝḻide">
                <a:extLst>
                  <a:ext uri="{FF2B5EF4-FFF2-40B4-BE49-F238E27FC236}">
                    <a16:creationId xmlns:a16="http://schemas.microsoft.com/office/drawing/2014/main" id="{19020C11-2C81-4A0A-9FED-E40B0F84B121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4" name="iSḷíďè">
                <a:extLst>
                  <a:ext uri="{FF2B5EF4-FFF2-40B4-BE49-F238E27FC236}">
                    <a16:creationId xmlns:a16="http://schemas.microsoft.com/office/drawing/2014/main" id="{EA7784E9-ABC3-4756-B167-108F78A2870A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/>
              </a:p>
            </p:txBody>
          </p:sp>
          <p:sp>
            <p:nvSpPr>
              <p:cNvPr id="45" name="îṩ1îḑè">
                <a:extLst>
                  <a:ext uri="{FF2B5EF4-FFF2-40B4-BE49-F238E27FC236}">
                    <a16:creationId xmlns:a16="http://schemas.microsoft.com/office/drawing/2014/main" id="{FD4DC11B-4B01-4004-A4AA-47368C6483AF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46" name="îşḻïḍe">
                <a:extLst>
                  <a:ext uri="{FF2B5EF4-FFF2-40B4-BE49-F238E27FC236}">
                    <a16:creationId xmlns:a16="http://schemas.microsoft.com/office/drawing/2014/main" id="{DFD680BB-D3CB-46CD-AC82-0EF1E2DFB9B9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7" name="ïšļïḑé">
                <a:extLst>
                  <a:ext uri="{FF2B5EF4-FFF2-40B4-BE49-F238E27FC236}">
                    <a16:creationId xmlns:a16="http://schemas.microsoft.com/office/drawing/2014/main" id="{F3902DE8-F754-4C6A-9A79-2C140CCFFA52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8" name="iṥḷiďè">
                <a:extLst>
                  <a:ext uri="{FF2B5EF4-FFF2-40B4-BE49-F238E27FC236}">
                    <a16:creationId xmlns:a16="http://schemas.microsoft.com/office/drawing/2014/main" id="{588F21D5-ADBE-4164-9349-CFA54029E5B8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/>
              </a:p>
            </p:txBody>
          </p:sp>
          <p:sp>
            <p:nvSpPr>
              <p:cNvPr id="49" name="íSļíḑè">
                <a:extLst>
                  <a:ext uri="{FF2B5EF4-FFF2-40B4-BE49-F238E27FC236}">
                    <a16:creationId xmlns:a16="http://schemas.microsoft.com/office/drawing/2014/main" id="{7D9A3931-2CDB-431C-AC0E-69CCE88C864D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  <p:sp>
            <p:nvSpPr>
              <p:cNvPr id="50" name="ïşľide">
                <a:extLst>
                  <a:ext uri="{FF2B5EF4-FFF2-40B4-BE49-F238E27FC236}">
                    <a16:creationId xmlns:a16="http://schemas.microsoft.com/office/drawing/2014/main" id="{D65C478C-F05F-4862-834A-061BC27FD0CE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/>
              </a:p>
            </p:txBody>
          </p:sp>
        </p:grpSp>
        <p:sp>
          <p:nvSpPr>
            <p:cNvPr id="4" name="íSliḍè">
              <a:extLst>
                <a:ext uri="{FF2B5EF4-FFF2-40B4-BE49-F238E27FC236}">
                  <a16:creationId xmlns:a16="http://schemas.microsoft.com/office/drawing/2014/main" id="{9695CD39-70C1-45DC-B79F-6C94062937D5}"/>
                </a:ext>
              </a:extLst>
            </p:cNvPr>
            <p:cNvSpPr/>
            <p:nvPr/>
          </p:nvSpPr>
          <p:spPr>
            <a:xfrm>
              <a:off x="673100" y="3032303"/>
              <a:ext cx="10845800" cy="3168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20000"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iṣlïdè">
              <a:extLst>
                <a:ext uri="{FF2B5EF4-FFF2-40B4-BE49-F238E27FC236}">
                  <a16:creationId xmlns:a16="http://schemas.microsoft.com/office/drawing/2014/main" id="{BF20F748-132E-4C96-BBEB-A70517E9351A}"/>
                </a:ext>
              </a:extLst>
            </p:cNvPr>
            <p:cNvSpPr/>
            <p:nvPr/>
          </p:nvSpPr>
          <p:spPr>
            <a:xfrm>
              <a:off x="4575142" y="1123950"/>
              <a:ext cx="3041716" cy="76691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reflection blurRad="6350" stA="24000" endPos="3850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800" spc="300" dirty="0"/>
                <a:t>Contents</a:t>
              </a:r>
              <a:endParaRPr lang="zh-CN" altLang="en-US" sz="2800" spc="300" dirty="0"/>
            </a:p>
          </p:txBody>
        </p:sp>
        <p:sp>
          <p:nvSpPr>
            <p:cNvPr id="6" name="îṡľiḋè">
              <a:extLst>
                <a:ext uri="{FF2B5EF4-FFF2-40B4-BE49-F238E27FC236}">
                  <a16:creationId xmlns:a16="http://schemas.microsoft.com/office/drawing/2014/main" id="{A91857BE-0F6B-4D6D-BA2B-A4BC36F6D921}"/>
                </a:ext>
              </a:extLst>
            </p:cNvPr>
            <p:cNvSpPr/>
            <p:nvPr/>
          </p:nvSpPr>
          <p:spPr bwMode="auto">
            <a:xfrm>
              <a:off x="1438089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1</a:t>
              </a:r>
              <a:endParaRPr lang="zh-CN" altLang="en-US" dirty="0"/>
            </a:p>
          </p:txBody>
        </p:sp>
        <p:sp>
          <p:nvSpPr>
            <p:cNvPr id="21" name="ïślîdé">
              <a:extLst>
                <a:ext uri="{FF2B5EF4-FFF2-40B4-BE49-F238E27FC236}">
                  <a16:creationId xmlns:a16="http://schemas.microsoft.com/office/drawing/2014/main" id="{4CE03777-B185-4809-8F05-83976320805A}"/>
                </a:ext>
              </a:extLst>
            </p:cNvPr>
            <p:cNvSpPr txBox="1"/>
            <p:nvPr/>
          </p:nvSpPr>
          <p:spPr bwMode="auto">
            <a:xfrm>
              <a:off x="673100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背景</a:t>
              </a:r>
              <a:endParaRPr lang="en-US" altLang="zh-CN" sz="2000" b="1" dirty="0"/>
            </a:p>
          </p:txBody>
        </p:sp>
        <p:sp>
          <p:nvSpPr>
            <p:cNvPr id="8" name="îŝḻíḋè">
              <a:extLst>
                <a:ext uri="{FF2B5EF4-FFF2-40B4-BE49-F238E27FC236}">
                  <a16:creationId xmlns:a16="http://schemas.microsoft.com/office/drawing/2014/main" id="{B43BCD28-DC88-4698-9E49-EC3ECA61F80C}"/>
                </a:ext>
              </a:extLst>
            </p:cNvPr>
            <p:cNvSpPr/>
            <p:nvPr/>
          </p:nvSpPr>
          <p:spPr bwMode="auto">
            <a:xfrm>
              <a:off x="4274968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2</a:t>
              </a:r>
              <a:endParaRPr lang="zh-CN" altLang="en-US" dirty="0"/>
            </a:p>
          </p:txBody>
        </p:sp>
        <p:sp>
          <p:nvSpPr>
            <p:cNvPr id="19" name="iṣḻiďè">
              <a:extLst>
                <a:ext uri="{FF2B5EF4-FFF2-40B4-BE49-F238E27FC236}">
                  <a16:creationId xmlns:a16="http://schemas.microsoft.com/office/drawing/2014/main" id="{315D034E-D7E8-4AD0-A1FA-446566ECD7FF}"/>
                </a:ext>
              </a:extLst>
            </p:cNvPr>
            <p:cNvSpPr txBox="1"/>
            <p:nvPr/>
          </p:nvSpPr>
          <p:spPr bwMode="auto">
            <a:xfrm>
              <a:off x="3509979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介绍</a:t>
              </a:r>
              <a:endParaRPr lang="en-US" altLang="zh-CN" sz="2000" b="1" dirty="0"/>
            </a:p>
          </p:txBody>
        </p:sp>
        <p:sp>
          <p:nvSpPr>
            <p:cNvPr id="10" name="ïŝļiḑé">
              <a:extLst>
                <a:ext uri="{FF2B5EF4-FFF2-40B4-BE49-F238E27FC236}">
                  <a16:creationId xmlns:a16="http://schemas.microsoft.com/office/drawing/2014/main" id="{4B0B50D6-623F-481F-8369-1C6F1B10C3D3}"/>
                </a:ext>
              </a:extLst>
            </p:cNvPr>
            <p:cNvSpPr/>
            <p:nvPr/>
          </p:nvSpPr>
          <p:spPr bwMode="auto">
            <a:xfrm>
              <a:off x="7111847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3</a:t>
              </a:r>
              <a:endParaRPr lang="zh-CN" altLang="en-US" dirty="0"/>
            </a:p>
          </p:txBody>
        </p:sp>
        <p:sp>
          <p:nvSpPr>
            <p:cNvPr id="17" name="iṡļîdè">
              <a:extLst>
                <a:ext uri="{FF2B5EF4-FFF2-40B4-BE49-F238E27FC236}">
                  <a16:creationId xmlns:a16="http://schemas.microsoft.com/office/drawing/2014/main" id="{4343FB40-DEC2-4F75-ADF7-059E2949D0C9}"/>
                </a:ext>
              </a:extLst>
            </p:cNvPr>
            <p:cNvSpPr txBox="1"/>
            <p:nvPr/>
          </p:nvSpPr>
          <p:spPr bwMode="auto">
            <a:xfrm>
              <a:off x="6346858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游戏玩法设计</a:t>
              </a:r>
              <a:endParaRPr lang="en-US" altLang="zh-CN" sz="2000" b="1" dirty="0"/>
            </a:p>
          </p:txBody>
        </p:sp>
        <p:sp>
          <p:nvSpPr>
            <p:cNvPr id="12" name="íS1ïďe">
              <a:extLst>
                <a:ext uri="{FF2B5EF4-FFF2-40B4-BE49-F238E27FC236}">
                  <a16:creationId xmlns:a16="http://schemas.microsoft.com/office/drawing/2014/main" id="{3ED5AC6F-7927-46A7-98B9-63B61EE0D089}"/>
                </a:ext>
              </a:extLst>
            </p:cNvPr>
            <p:cNvSpPr/>
            <p:nvPr/>
          </p:nvSpPr>
          <p:spPr bwMode="auto">
            <a:xfrm>
              <a:off x="9948725" y="2738486"/>
              <a:ext cx="805186" cy="904456"/>
            </a:xfrm>
            <a:custGeom>
              <a:avLst/>
              <a:gdLst>
                <a:gd name="T0" fmla="*/ 1488 w 1488"/>
                <a:gd name="T1" fmla="*/ 498 h 1680"/>
                <a:gd name="T2" fmla="*/ 1413 w 1488"/>
                <a:gd name="T3" fmla="*/ 366 h 1680"/>
                <a:gd name="T4" fmla="*/ 820 w 1488"/>
                <a:gd name="T5" fmla="*/ 24 h 1680"/>
                <a:gd name="T6" fmla="*/ 669 w 1488"/>
                <a:gd name="T7" fmla="*/ 24 h 1680"/>
                <a:gd name="T8" fmla="*/ 76 w 1488"/>
                <a:gd name="T9" fmla="*/ 366 h 1680"/>
                <a:gd name="T10" fmla="*/ 0 w 1488"/>
                <a:gd name="T11" fmla="*/ 498 h 1680"/>
                <a:gd name="T12" fmla="*/ 0 w 1488"/>
                <a:gd name="T13" fmla="*/ 1182 h 1680"/>
                <a:gd name="T14" fmla="*/ 76 w 1488"/>
                <a:gd name="T15" fmla="*/ 1314 h 1680"/>
                <a:gd name="T16" fmla="*/ 669 w 1488"/>
                <a:gd name="T17" fmla="*/ 1656 h 1680"/>
                <a:gd name="T18" fmla="*/ 820 w 1488"/>
                <a:gd name="T19" fmla="*/ 1656 h 1680"/>
                <a:gd name="T20" fmla="*/ 1413 w 1488"/>
                <a:gd name="T21" fmla="*/ 1314 h 1680"/>
                <a:gd name="T22" fmla="*/ 1488 w 1488"/>
                <a:gd name="T23" fmla="*/ 1182 h 1680"/>
                <a:gd name="T24" fmla="*/ 1488 w 1488"/>
                <a:gd name="T25" fmla="*/ 498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8" h="1680">
                  <a:moveTo>
                    <a:pt x="1488" y="498"/>
                  </a:moveTo>
                  <a:cubicBezTo>
                    <a:pt x="1488" y="450"/>
                    <a:pt x="1454" y="390"/>
                    <a:pt x="1413" y="366"/>
                  </a:cubicBezTo>
                  <a:cubicBezTo>
                    <a:pt x="820" y="24"/>
                    <a:pt x="820" y="24"/>
                    <a:pt x="820" y="24"/>
                  </a:cubicBezTo>
                  <a:cubicBezTo>
                    <a:pt x="779" y="0"/>
                    <a:pt x="710" y="0"/>
                    <a:pt x="669" y="24"/>
                  </a:cubicBezTo>
                  <a:cubicBezTo>
                    <a:pt x="76" y="366"/>
                    <a:pt x="76" y="366"/>
                    <a:pt x="76" y="366"/>
                  </a:cubicBezTo>
                  <a:cubicBezTo>
                    <a:pt x="35" y="390"/>
                    <a:pt x="0" y="450"/>
                    <a:pt x="0" y="498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231"/>
                    <a:pt x="35" y="1289"/>
                    <a:pt x="76" y="1314"/>
                  </a:cubicBezTo>
                  <a:cubicBezTo>
                    <a:pt x="669" y="1656"/>
                    <a:pt x="669" y="1656"/>
                    <a:pt x="669" y="1656"/>
                  </a:cubicBezTo>
                  <a:cubicBezTo>
                    <a:pt x="710" y="1680"/>
                    <a:pt x="779" y="1680"/>
                    <a:pt x="820" y="1656"/>
                  </a:cubicBezTo>
                  <a:cubicBezTo>
                    <a:pt x="1413" y="1314"/>
                    <a:pt x="1413" y="1314"/>
                    <a:pt x="1413" y="1314"/>
                  </a:cubicBezTo>
                  <a:cubicBezTo>
                    <a:pt x="1454" y="1289"/>
                    <a:pt x="1488" y="1231"/>
                    <a:pt x="1488" y="1182"/>
                  </a:cubicBezTo>
                  <a:lnTo>
                    <a:pt x="1488" y="498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dirty="0"/>
                <a:t>04</a:t>
              </a:r>
              <a:endParaRPr lang="zh-CN" altLang="en-US" dirty="0"/>
            </a:p>
          </p:txBody>
        </p:sp>
        <p:sp>
          <p:nvSpPr>
            <p:cNvPr id="15" name="îṥľiďè">
              <a:extLst>
                <a:ext uri="{FF2B5EF4-FFF2-40B4-BE49-F238E27FC236}">
                  <a16:creationId xmlns:a16="http://schemas.microsoft.com/office/drawing/2014/main" id="{C197BE4C-9FC8-45D1-8B6B-69325797C8A3}"/>
                </a:ext>
              </a:extLst>
            </p:cNvPr>
            <p:cNvSpPr txBox="1"/>
            <p:nvPr/>
          </p:nvSpPr>
          <p:spPr bwMode="auto">
            <a:xfrm>
              <a:off x="9183736" y="3746026"/>
              <a:ext cx="233516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用户交互设计</a:t>
              </a:r>
              <a:endParaRPr lang="en-US" altLang="zh-CN" sz="2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992160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背景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背景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F6B8539-A81B-6820-07CF-10559BA46920}"/>
              </a:ext>
            </a:extLst>
          </p:cNvPr>
          <p:cNvSpPr txBox="1"/>
          <p:nvPr/>
        </p:nvSpPr>
        <p:spPr>
          <a:xfrm>
            <a:off x="1808341" y="1157081"/>
            <a:ext cx="9105466" cy="13952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 </a:t>
            </a: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塔防游戏是一种策略游戏，玩家的目标是防止敌人进入游戏地图上的特定区域。玩家需要建造和升级防御塔来抵御敌人的攻击，并使用各种策略和战术来保护他们的基地或资源。这些游戏通常基于固定的地图布局，敌人沿着特定的路径移动，玩家需要利用塔的特殊能力和布局来最大限度地消灭敌人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88F785A-C1DB-AF0F-A889-0E579574D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95" y="2885800"/>
            <a:ext cx="4607486" cy="2591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DF10D4F-A4AD-D445-CEDF-8BFED17EE4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8" t="13054" r="6232" b="12006"/>
          <a:stretch/>
        </p:blipFill>
        <p:spPr bwMode="auto">
          <a:xfrm>
            <a:off x="5991432" y="2885800"/>
            <a:ext cx="5361907" cy="258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49CA7F89-32A6-4FFF-E33E-D0271F999A9E}"/>
              </a:ext>
            </a:extLst>
          </p:cNvPr>
          <p:cNvSpPr txBox="1"/>
          <p:nvPr/>
        </p:nvSpPr>
        <p:spPr>
          <a:xfrm>
            <a:off x="1808341" y="5805149"/>
            <a:ext cx="9105466" cy="7304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66700" algn="l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塔防游戏在游戏行业非常受欢迎，已经有许多经典的塔防游戏系列，以及许多不同风格和主题的塔防玩家可供选择。</a:t>
            </a:r>
            <a:endParaRPr lang="zh-CN" altLang="zh-CN" sz="1800" dirty="0">
              <a:effectLst/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817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介绍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483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9575D6-C2CF-42C9-B853-D77B55FB3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场景</a:t>
            </a:r>
          </a:p>
        </p:txBody>
      </p:sp>
      <p:grpSp>
        <p:nvGrpSpPr>
          <p:cNvPr id="28" name="24366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849212" y="1952239"/>
            <a:ext cx="8779459" cy="3364684"/>
            <a:chOff x="-238574" y="3349872"/>
            <a:chExt cx="8953339" cy="3364684"/>
          </a:xfrm>
        </p:grpSpPr>
        <p:sp>
          <p:nvSpPr>
            <p:cNvPr id="34" name="íṩlîḋe"/>
            <p:cNvSpPr/>
            <p:nvPr/>
          </p:nvSpPr>
          <p:spPr>
            <a:xfrm rot="5400000">
              <a:off x="3373327" y="3374186"/>
              <a:ext cx="393174" cy="446559"/>
            </a:xfrm>
            <a:custGeom>
              <a:avLst/>
              <a:gdLst>
                <a:gd name="connsiteX0" fmla="*/ 0 w 523042"/>
                <a:gd name="connsiteY0" fmla="*/ 277628 h 594061"/>
                <a:gd name="connsiteX1" fmla="*/ 261521 w 523042"/>
                <a:gd name="connsiteY1" fmla="*/ 0 h 594061"/>
                <a:gd name="connsiteX2" fmla="*/ 523042 w 523042"/>
                <a:gd name="connsiteY2" fmla="*/ 277628 h 594061"/>
                <a:gd name="connsiteX3" fmla="*/ 370254 w 523042"/>
                <a:gd name="connsiteY3" fmla="*/ 277628 h 594061"/>
                <a:gd name="connsiteX4" fmla="*/ 370254 w 523042"/>
                <a:gd name="connsiteY4" fmla="*/ 534871 h 594061"/>
                <a:gd name="connsiteX5" fmla="*/ 311064 w 523042"/>
                <a:gd name="connsiteY5" fmla="*/ 594061 h 594061"/>
                <a:gd name="connsiteX6" fmla="*/ 211979 w 523042"/>
                <a:gd name="connsiteY6" fmla="*/ 594061 h 594061"/>
                <a:gd name="connsiteX7" fmla="*/ 152789 w 523042"/>
                <a:gd name="connsiteY7" fmla="*/ 534871 h 594061"/>
                <a:gd name="connsiteX8" fmla="*/ 152789 w 523042"/>
                <a:gd name="connsiteY8" fmla="*/ 277628 h 594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042" h="594061">
                  <a:moveTo>
                    <a:pt x="0" y="277628"/>
                  </a:moveTo>
                  <a:lnTo>
                    <a:pt x="261521" y="0"/>
                  </a:lnTo>
                  <a:lnTo>
                    <a:pt x="523042" y="277628"/>
                  </a:lnTo>
                  <a:lnTo>
                    <a:pt x="370254" y="277628"/>
                  </a:lnTo>
                  <a:lnTo>
                    <a:pt x="370254" y="534871"/>
                  </a:lnTo>
                  <a:cubicBezTo>
                    <a:pt x="370254" y="567561"/>
                    <a:pt x="343754" y="594061"/>
                    <a:pt x="311064" y="594061"/>
                  </a:cubicBezTo>
                  <a:lnTo>
                    <a:pt x="211979" y="594061"/>
                  </a:lnTo>
                  <a:cubicBezTo>
                    <a:pt x="179289" y="594061"/>
                    <a:pt x="152789" y="567561"/>
                    <a:pt x="152789" y="534871"/>
                  </a:cubicBezTo>
                  <a:lnTo>
                    <a:pt x="152789" y="27762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6" name="îšlïďe"/>
            <p:cNvSpPr/>
            <p:nvPr/>
          </p:nvSpPr>
          <p:spPr>
            <a:xfrm>
              <a:off x="673100" y="3349872"/>
              <a:ext cx="2086643" cy="531506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i="1" dirty="0">
                  <a:solidFill>
                    <a:schemeClr val="tx1"/>
                  </a:solidFill>
                </a:rPr>
                <a:t>开始场景</a:t>
              </a:r>
              <a:endParaRPr lang="en-US" altLang="zh-CN" sz="2000" i="1" dirty="0">
                <a:solidFill>
                  <a:schemeClr val="tx1"/>
                </a:solidFill>
              </a:endParaRPr>
            </a:p>
          </p:txBody>
        </p:sp>
        <p:sp>
          <p:nvSpPr>
            <p:cNvPr id="37" name="ïşḻïḍè"/>
            <p:cNvSpPr/>
            <p:nvPr/>
          </p:nvSpPr>
          <p:spPr>
            <a:xfrm>
              <a:off x="2235970" y="3381213"/>
              <a:ext cx="482106" cy="48210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8" name="îṣḷîďe"/>
            <p:cNvSpPr/>
            <p:nvPr/>
          </p:nvSpPr>
          <p:spPr>
            <a:xfrm>
              <a:off x="2329115" y="3449825"/>
              <a:ext cx="311698" cy="331600"/>
            </a:xfrm>
            <a:custGeom>
              <a:avLst/>
              <a:gdLst>
                <a:gd name="connsiteX0" fmla="*/ 219384 w 570310"/>
                <a:gd name="connsiteY0" fmla="*/ 310418 h 606722"/>
                <a:gd name="connsiteX1" fmla="*/ 252581 w 570310"/>
                <a:gd name="connsiteY1" fmla="*/ 343568 h 606722"/>
                <a:gd name="connsiteX2" fmla="*/ 237985 w 570310"/>
                <a:gd name="connsiteY2" fmla="*/ 519626 h 606722"/>
                <a:gd name="connsiteX3" fmla="*/ 242613 w 570310"/>
                <a:gd name="connsiteY3" fmla="*/ 536423 h 606722"/>
                <a:gd name="connsiteX4" fmla="*/ 275810 w 570310"/>
                <a:gd name="connsiteY4" fmla="*/ 583349 h 606722"/>
                <a:gd name="connsiteX5" fmla="*/ 285155 w 570310"/>
                <a:gd name="connsiteY5" fmla="*/ 588148 h 606722"/>
                <a:gd name="connsiteX6" fmla="*/ 294500 w 570310"/>
                <a:gd name="connsiteY6" fmla="*/ 583349 h 606722"/>
                <a:gd name="connsiteX7" fmla="*/ 327697 w 570310"/>
                <a:gd name="connsiteY7" fmla="*/ 536423 h 606722"/>
                <a:gd name="connsiteX8" fmla="*/ 332325 w 570310"/>
                <a:gd name="connsiteY8" fmla="*/ 519626 h 606722"/>
                <a:gd name="connsiteX9" fmla="*/ 317818 w 570310"/>
                <a:gd name="connsiteY9" fmla="*/ 343568 h 606722"/>
                <a:gd name="connsiteX10" fmla="*/ 351015 w 570310"/>
                <a:gd name="connsiteY10" fmla="*/ 310418 h 606722"/>
                <a:gd name="connsiteX11" fmla="*/ 486828 w 570310"/>
                <a:gd name="connsiteY11" fmla="*/ 386227 h 606722"/>
                <a:gd name="connsiteX12" fmla="*/ 570310 w 570310"/>
                <a:gd name="connsiteY12" fmla="*/ 587526 h 606722"/>
                <a:gd name="connsiteX13" fmla="*/ 551175 w 570310"/>
                <a:gd name="connsiteY13" fmla="*/ 606722 h 606722"/>
                <a:gd name="connsiteX14" fmla="*/ 19224 w 570310"/>
                <a:gd name="connsiteY14" fmla="*/ 606722 h 606722"/>
                <a:gd name="connsiteX15" fmla="*/ 0 w 570310"/>
                <a:gd name="connsiteY15" fmla="*/ 587526 h 606722"/>
                <a:gd name="connsiteX16" fmla="*/ 83571 w 570310"/>
                <a:gd name="connsiteY16" fmla="*/ 386227 h 606722"/>
                <a:gd name="connsiteX17" fmla="*/ 219384 w 570310"/>
                <a:gd name="connsiteY17" fmla="*/ 310418 h 606722"/>
                <a:gd name="connsiteX18" fmla="*/ 128853 w 570310"/>
                <a:gd name="connsiteY18" fmla="*/ 201676 h 606722"/>
                <a:gd name="connsiteX19" fmla="*/ 441529 w 570310"/>
                <a:gd name="connsiteY19" fmla="*/ 201676 h 606722"/>
                <a:gd name="connsiteX20" fmla="*/ 441529 w 570310"/>
                <a:gd name="connsiteY20" fmla="*/ 239945 h 606722"/>
                <a:gd name="connsiteX21" fmla="*/ 426131 w 570310"/>
                <a:gd name="connsiteY21" fmla="*/ 255306 h 606722"/>
                <a:gd name="connsiteX22" fmla="*/ 144251 w 570310"/>
                <a:gd name="connsiteY22" fmla="*/ 255306 h 606722"/>
                <a:gd name="connsiteX23" fmla="*/ 128853 w 570310"/>
                <a:gd name="connsiteY23" fmla="*/ 239945 h 606722"/>
                <a:gd name="connsiteX24" fmla="*/ 282298 w 570310"/>
                <a:gd name="connsiteY24" fmla="*/ 0 h 606722"/>
                <a:gd name="connsiteX25" fmla="*/ 287639 w 570310"/>
                <a:gd name="connsiteY25" fmla="*/ 2577 h 606722"/>
                <a:gd name="connsiteX26" fmla="*/ 379225 w 570310"/>
                <a:gd name="connsiteY26" fmla="*/ 115986 h 606722"/>
                <a:gd name="connsiteX27" fmla="*/ 429068 w 570310"/>
                <a:gd name="connsiteY27" fmla="*/ 49861 h 606722"/>
                <a:gd name="connsiteX28" fmla="*/ 436812 w 570310"/>
                <a:gd name="connsiteY28" fmla="*/ 47461 h 606722"/>
                <a:gd name="connsiteX29" fmla="*/ 441529 w 570310"/>
                <a:gd name="connsiteY29" fmla="*/ 53949 h 606722"/>
                <a:gd name="connsiteX30" fmla="*/ 441529 w 570310"/>
                <a:gd name="connsiteY30" fmla="*/ 163359 h 606722"/>
                <a:gd name="connsiteX31" fmla="*/ 128853 w 570310"/>
                <a:gd name="connsiteY31" fmla="*/ 163359 h 606722"/>
                <a:gd name="connsiteX32" fmla="*/ 128853 w 570310"/>
                <a:gd name="connsiteY32" fmla="*/ 60171 h 606722"/>
                <a:gd name="connsiteX33" fmla="*/ 133570 w 570310"/>
                <a:gd name="connsiteY33" fmla="*/ 53594 h 606722"/>
                <a:gd name="connsiteX34" fmla="*/ 141314 w 570310"/>
                <a:gd name="connsiteY34" fmla="*/ 56082 h 606722"/>
                <a:gd name="connsiteX35" fmla="*/ 185282 w 570310"/>
                <a:gd name="connsiteY35" fmla="*/ 115986 h 606722"/>
                <a:gd name="connsiteX36" fmla="*/ 276869 w 570310"/>
                <a:gd name="connsiteY36" fmla="*/ 2577 h 606722"/>
                <a:gd name="connsiteX37" fmla="*/ 282298 w 570310"/>
                <a:gd name="connsiteY3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70310" h="606722">
                  <a:moveTo>
                    <a:pt x="219384" y="310418"/>
                  </a:moveTo>
                  <a:lnTo>
                    <a:pt x="252581" y="343568"/>
                  </a:lnTo>
                  <a:lnTo>
                    <a:pt x="237985" y="519626"/>
                  </a:lnTo>
                  <a:cubicBezTo>
                    <a:pt x="237540" y="525581"/>
                    <a:pt x="239142" y="531535"/>
                    <a:pt x="242613" y="536423"/>
                  </a:cubicBezTo>
                  <a:lnTo>
                    <a:pt x="275810" y="583349"/>
                  </a:lnTo>
                  <a:cubicBezTo>
                    <a:pt x="277946" y="586370"/>
                    <a:pt x="281506" y="588148"/>
                    <a:pt x="285155" y="588148"/>
                  </a:cubicBezTo>
                  <a:cubicBezTo>
                    <a:pt x="288893" y="588148"/>
                    <a:pt x="292364" y="586370"/>
                    <a:pt x="294500" y="583349"/>
                  </a:cubicBezTo>
                  <a:lnTo>
                    <a:pt x="327697" y="536423"/>
                  </a:lnTo>
                  <a:cubicBezTo>
                    <a:pt x="331168" y="531535"/>
                    <a:pt x="332859" y="525581"/>
                    <a:pt x="332325" y="519626"/>
                  </a:cubicBezTo>
                  <a:lnTo>
                    <a:pt x="317818" y="343568"/>
                  </a:lnTo>
                  <a:lnTo>
                    <a:pt x="351015" y="310418"/>
                  </a:lnTo>
                  <a:cubicBezTo>
                    <a:pt x="402012" y="322327"/>
                    <a:pt x="448825" y="348278"/>
                    <a:pt x="486828" y="386227"/>
                  </a:cubicBezTo>
                  <a:cubicBezTo>
                    <a:pt x="540673" y="439996"/>
                    <a:pt x="570310" y="511450"/>
                    <a:pt x="570310" y="587526"/>
                  </a:cubicBezTo>
                  <a:cubicBezTo>
                    <a:pt x="570310" y="598102"/>
                    <a:pt x="561766" y="606722"/>
                    <a:pt x="551175" y="606722"/>
                  </a:cubicBezTo>
                  <a:lnTo>
                    <a:pt x="19224" y="606722"/>
                  </a:lnTo>
                  <a:cubicBezTo>
                    <a:pt x="8633" y="606722"/>
                    <a:pt x="0" y="598102"/>
                    <a:pt x="0" y="587526"/>
                  </a:cubicBezTo>
                  <a:cubicBezTo>
                    <a:pt x="0" y="511450"/>
                    <a:pt x="29726" y="439996"/>
                    <a:pt x="83571" y="386227"/>
                  </a:cubicBezTo>
                  <a:cubicBezTo>
                    <a:pt x="121485" y="348278"/>
                    <a:pt x="168298" y="322327"/>
                    <a:pt x="219384" y="310418"/>
                  </a:cubicBezTo>
                  <a:close/>
                  <a:moveTo>
                    <a:pt x="128853" y="201676"/>
                  </a:moveTo>
                  <a:lnTo>
                    <a:pt x="441529" y="201676"/>
                  </a:lnTo>
                  <a:lnTo>
                    <a:pt x="441529" y="239945"/>
                  </a:lnTo>
                  <a:cubicBezTo>
                    <a:pt x="441529" y="248381"/>
                    <a:pt x="434587" y="255306"/>
                    <a:pt x="426131" y="255306"/>
                  </a:cubicBezTo>
                  <a:lnTo>
                    <a:pt x="144251" y="255306"/>
                  </a:lnTo>
                  <a:cubicBezTo>
                    <a:pt x="135706" y="255306"/>
                    <a:pt x="128853" y="248381"/>
                    <a:pt x="128853" y="239945"/>
                  </a:cubicBezTo>
                  <a:close/>
                  <a:moveTo>
                    <a:pt x="282298" y="0"/>
                  </a:moveTo>
                  <a:cubicBezTo>
                    <a:pt x="284345" y="0"/>
                    <a:pt x="286304" y="977"/>
                    <a:pt x="287639" y="2577"/>
                  </a:cubicBezTo>
                  <a:lnTo>
                    <a:pt x="379225" y="115986"/>
                  </a:lnTo>
                  <a:lnTo>
                    <a:pt x="429068" y="49861"/>
                  </a:lnTo>
                  <a:cubicBezTo>
                    <a:pt x="430848" y="47461"/>
                    <a:pt x="433964" y="46483"/>
                    <a:pt x="436812" y="47461"/>
                  </a:cubicBezTo>
                  <a:cubicBezTo>
                    <a:pt x="439571" y="48350"/>
                    <a:pt x="441529" y="51016"/>
                    <a:pt x="441529" y="53949"/>
                  </a:cubicBezTo>
                  <a:lnTo>
                    <a:pt x="441529" y="163359"/>
                  </a:lnTo>
                  <a:lnTo>
                    <a:pt x="128853" y="163359"/>
                  </a:lnTo>
                  <a:lnTo>
                    <a:pt x="128853" y="60171"/>
                  </a:lnTo>
                  <a:cubicBezTo>
                    <a:pt x="128853" y="57149"/>
                    <a:pt x="130722" y="54571"/>
                    <a:pt x="133570" y="53594"/>
                  </a:cubicBezTo>
                  <a:cubicBezTo>
                    <a:pt x="136418" y="52705"/>
                    <a:pt x="139534" y="53682"/>
                    <a:pt x="141314" y="56082"/>
                  </a:cubicBezTo>
                  <a:lnTo>
                    <a:pt x="185282" y="115986"/>
                  </a:lnTo>
                  <a:lnTo>
                    <a:pt x="276869" y="2577"/>
                  </a:lnTo>
                  <a:cubicBezTo>
                    <a:pt x="278204" y="977"/>
                    <a:pt x="280162" y="0"/>
                    <a:pt x="282298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9" name="íŝlîdé"/>
            <p:cNvSpPr/>
            <p:nvPr/>
          </p:nvSpPr>
          <p:spPr>
            <a:xfrm>
              <a:off x="4584823" y="3366787"/>
              <a:ext cx="2086643" cy="531506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2000" i="1" dirty="0">
                  <a:solidFill>
                    <a:schemeClr val="tx1"/>
                  </a:solidFill>
                </a:rPr>
                <a:t>主场景</a:t>
              </a:r>
              <a:endParaRPr lang="en-US" altLang="zh-CN" sz="2000" i="1" dirty="0">
                <a:solidFill>
                  <a:schemeClr val="tx1"/>
                </a:solidFill>
              </a:endParaRPr>
            </a:p>
          </p:txBody>
        </p:sp>
        <p:sp>
          <p:nvSpPr>
            <p:cNvPr id="40" name="ïṧḻíḓê"/>
            <p:cNvSpPr/>
            <p:nvPr/>
          </p:nvSpPr>
          <p:spPr>
            <a:xfrm>
              <a:off x="6103082" y="3381213"/>
              <a:ext cx="482106" cy="48210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3" name="iṩ1îdé"/>
            <p:cNvSpPr/>
            <p:nvPr/>
          </p:nvSpPr>
          <p:spPr>
            <a:xfrm>
              <a:off x="6188287" y="3400878"/>
              <a:ext cx="311698" cy="331600"/>
            </a:xfrm>
            <a:custGeom>
              <a:avLst/>
              <a:gdLst>
                <a:gd name="connsiteX0" fmla="*/ 219384 w 570310"/>
                <a:gd name="connsiteY0" fmla="*/ 310418 h 606722"/>
                <a:gd name="connsiteX1" fmla="*/ 252581 w 570310"/>
                <a:gd name="connsiteY1" fmla="*/ 343568 h 606722"/>
                <a:gd name="connsiteX2" fmla="*/ 237985 w 570310"/>
                <a:gd name="connsiteY2" fmla="*/ 519626 h 606722"/>
                <a:gd name="connsiteX3" fmla="*/ 242613 w 570310"/>
                <a:gd name="connsiteY3" fmla="*/ 536423 h 606722"/>
                <a:gd name="connsiteX4" fmla="*/ 275810 w 570310"/>
                <a:gd name="connsiteY4" fmla="*/ 583349 h 606722"/>
                <a:gd name="connsiteX5" fmla="*/ 285155 w 570310"/>
                <a:gd name="connsiteY5" fmla="*/ 588148 h 606722"/>
                <a:gd name="connsiteX6" fmla="*/ 294500 w 570310"/>
                <a:gd name="connsiteY6" fmla="*/ 583349 h 606722"/>
                <a:gd name="connsiteX7" fmla="*/ 327697 w 570310"/>
                <a:gd name="connsiteY7" fmla="*/ 536423 h 606722"/>
                <a:gd name="connsiteX8" fmla="*/ 332325 w 570310"/>
                <a:gd name="connsiteY8" fmla="*/ 519626 h 606722"/>
                <a:gd name="connsiteX9" fmla="*/ 317818 w 570310"/>
                <a:gd name="connsiteY9" fmla="*/ 343568 h 606722"/>
                <a:gd name="connsiteX10" fmla="*/ 351015 w 570310"/>
                <a:gd name="connsiteY10" fmla="*/ 310418 h 606722"/>
                <a:gd name="connsiteX11" fmla="*/ 486828 w 570310"/>
                <a:gd name="connsiteY11" fmla="*/ 386227 h 606722"/>
                <a:gd name="connsiteX12" fmla="*/ 570310 w 570310"/>
                <a:gd name="connsiteY12" fmla="*/ 587526 h 606722"/>
                <a:gd name="connsiteX13" fmla="*/ 551175 w 570310"/>
                <a:gd name="connsiteY13" fmla="*/ 606722 h 606722"/>
                <a:gd name="connsiteX14" fmla="*/ 19224 w 570310"/>
                <a:gd name="connsiteY14" fmla="*/ 606722 h 606722"/>
                <a:gd name="connsiteX15" fmla="*/ 0 w 570310"/>
                <a:gd name="connsiteY15" fmla="*/ 587526 h 606722"/>
                <a:gd name="connsiteX16" fmla="*/ 83571 w 570310"/>
                <a:gd name="connsiteY16" fmla="*/ 386227 h 606722"/>
                <a:gd name="connsiteX17" fmla="*/ 219384 w 570310"/>
                <a:gd name="connsiteY17" fmla="*/ 310418 h 606722"/>
                <a:gd name="connsiteX18" fmla="*/ 128853 w 570310"/>
                <a:gd name="connsiteY18" fmla="*/ 201676 h 606722"/>
                <a:gd name="connsiteX19" fmla="*/ 441529 w 570310"/>
                <a:gd name="connsiteY19" fmla="*/ 201676 h 606722"/>
                <a:gd name="connsiteX20" fmla="*/ 441529 w 570310"/>
                <a:gd name="connsiteY20" fmla="*/ 239945 h 606722"/>
                <a:gd name="connsiteX21" fmla="*/ 426131 w 570310"/>
                <a:gd name="connsiteY21" fmla="*/ 255306 h 606722"/>
                <a:gd name="connsiteX22" fmla="*/ 144251 w 570310"/>
                <a:gd name="connsiteY22" fmla="*/ 255306 h 606722"/>
                <a:gd name="connsiteX23" fmla="*/ 128853 w 570310"/>
                <a:gd name="connsiteY23" fmla="*/ 239945 h 606722"/>
                <a:gd name="connsiteX24" fmla="*/ 282298 w 570310"/>
                <a:gd name="connsiteY24" fmla="*/ 0 h 606722"/>
                <a:gd name="connsiteX25" fmla="*/ 287639 w 570310"/>
                <a:gd name="connsiteY25" fmla="*/ 2577 h 606722"/>
                <a:gd name="connsiteX26" fmla="*/ 379225 w 570310"/>
                <a:gd name="connsiteY26" fmla="*/ 115986 h 606722"/>
                <a:gd name="connsiteX27" fmla="*/ 429068 w 570310"/>
                <a:gd name="connsiteY27" fmla="*/ 49861 h 606722"/>
                <a:gd name="connsiteX28" fmla="*/ 436812 w 570310"/>
                <a:gd name="connsiteY28" fmla="*/ 47461 h 606722"/>
                <a:gd name="connsiteX29" fmla="*/ 441529 w 570310"/>
                <a:gd name="connsiteY29" fmla="*/ 53949 h 606722"/>
                <a:gd name="connsiteX30" fmla="*/ 441529 w 570310"/>
                <a:gd name="connsiteY30" fmla="*/ 163359 h 606722"/>
                <a:gd name="connsiteX31" fmla="*/ 128853 w 570310"/>
                <a:gd name="connsiteY31" fmla="*/ 163359 h 606722"/>
                <a:gd name="connsiteX32" fmla="*/ 128853 w 570310"/>
                <a:gd name="connsiteY32" fmla="*/ 60171 h 606722"/>
                <a:gd name="connsiteX33" fmla="*/ 133570 w 570310"/>
                <a:gd name="connsiteY33" fmla="*/ 53594 h 606722"/>
                <a:gd name="connsiteX34" fmla="*/ 141314 w 570310"/>
                <a:gd name="connsiteY34" fmla="*/ 56082 h 606722"/>
                <a:gd name="connsiteX35" fmla="*/ 185282 w 570310"/>
                <a:gd name="connsiteY35" fmla="*/ 115986 h 606722"/>
                <a:gd name="connsiteX36" fmla="*/ 276869 w 570310"/>
                <a:gd name="connsiteY36" fmla="*/ 2577 h 606722"/>
                <a:gd name="connsiteX37" fmla="*/ 282298 w 570310"/>
                <a:gd name="connsiteY3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70310" h="606722">
                  <a:moveTo>
                    <a:pt x="219384" y="310418"/>
                  </a:moveTo>
                  <a:lnTo>
                    <a:pt x="252581" y="343568"/>
                  </a:lnTo>
                  <a:lnTo>
                    <a:pt x="237985" y="519626"/>
                  </a:lnTo>
                  <a:cubicBezTo>
                    <a:pt x="237540" y="525581"/>
                    <a:pt x="239142" y="531535"/>
                    <a:pt x="242613" y="536423"/>
                  </a:cubicBezTo>
                  <a:lnTo>
                    <a:pt x="275810" y="583349"/>
                  </a:lnTo>
                  <a:cubicBezTo>
                    <a:pt x="277946" y="586370"/>
                    <a:pt x="281506" y="588148"/>
                    <a:pt x="285155" y="588148"/>
                  </a:cubicBezTo>
                  <a:cubicBezTo>
                    <a:pt x="288893" y="588148"/>
                    <a:pt x="292364" y="586370"/>
                    <a:pt x="294500" y="583349"/>
                  </a:cubicBezTo>
                  <a:lnTo>
                    <a:pt x="327697" y="536423"/>
                  </a:lnTo>
                  <a:cubicBezTo>
                    <a:pt x="331168" y="531535"/>
                    <a:pt x="332859" y="525581"/>
                    <a:pt x="332325" y="519626"/>
                  </a:cubicBezTo>
                  <a:lnTo>
                    <a:pt x="317818" y="343568"/>
                  </a:lnTo>
                  <a:lnTo>
                    <a:pt x="351015" y="310418"/>
                  </a:lnTo>
                  <a:cubicBezTo>
                    <a:pt x="402012" y="322327"/>
                    <a:pt x="448825" y="348278"/>
                    <a:pt x="486828" y="386227"/>
                  </a:cubicBezTo>
                  <a:cubicBezTo>
                    <a:pt x="540673" y="439996"/>
                    <a:pt x="570310" y="511450"/>
                    <a:pt x="570310" y="587526"/>
                  </a:cubicBezTo>
                  <a:cubicBezTo>
                    <a:pt x="570310" y="598102"/>
                    <a:pt x="561766" y="606722"/>
                    <a:pt x="551175" y="606722"/>
                  </a:cubicBezTo>
                  <a:lnTo>
                    <a:pt x="19224" y="606722"/>
                  </a:lnTo>
                  <a:cubicBezTo>
                    <a:pt x="8633" y="606722"/>
                    <a:pt x="0" y="598102"/>
                    <a:pt x="0" y="587526"/>
                  </a:cubicBezTo>
                  <a:cubicBezTo>
                    <a:pt x="0" y="511450"/>
                    <a:pt x="29726" y="439996"/>
                    <a:pt x="83571" y="386227"/>
                  </a:cubicBezTo>
                  <a:cubicBezTo>
                    <a:pt x="121485" y="348278"/>
                    <a:pt x="168298" y="322327"/>
                    <a:pt x="219384" y="310418"/>
                  </a:cubicBezTo>
                  <a:close/>
                  <a:moveTo>
                    <a:pt x="128853" y="201676"/>
                  </a:moveTo>
                  <a:lnTo>
                    <a:pt x="441529" y="201676"/>
                  </a:lnTo>
                  <a:lnTo>
                    <a:pt x="441529" y="239945"/>
                  </a:lnTo>
                  <a:cubicBezTo>
                    <a:pt x="441529" y="248381"/>
                    <a:pt x="434587" y="255306"/>
                    <a:pt x="426131" y="255306"/>
                  </a:cubicBezTo>
                  <a:lnTo>
                    <a:pt x="144251" y="255306"/>
                  </a:lnTo>
                  <a:cubicBezTo>
                    <a:pt x="135706" y="255306"/>
                    <a:pt x="128853" y="248381"/>
                    <a:pt x="128853" y="239945"/>
                  </a:cubicBezTo>
                  <a:close/>
                  <a:moveTo>
                    <a:pt x="282298" y="0"/>
                  </a:moveTo>
                  <a:cubicBezTo>
                    <a:pt x="284345" y="0"/>
                    <a:pt x="286304" y="977"/>
                    <a:pt x="287639" y="2577"/>
                  </a:cubicBezTo>
                  <a:lnTo>
                    <a:pt x="379225" y="115986"/>
                  </a:lnTo>
                  <a:lnTo>
                    <a:pt x="429068" y="49861"/>
                  </a:lnTo>
                  <a:cubicBezTo>
                    <a:pt x="430848" y="47461"/>
                    <a:pt x="433964" y="46483"/>
                    <a:pt x="436812" y="47461"/>
                  </a:cubicBezTo>
                  <a:cubicBezTo>
                    <a:pt x="439571" y="48350"/>
                    <a:pt x="441529" y="51016"/>
                    <a:pt x="441529" y="53949"/>
                  </a:cubicBezTo>
                  <a:lnTo>
                    <a:pt x="441529" y="163359"/>
                  </a:lnTo>
                  <a:lnTo>
                    <a:pt x="128853" y="163359"/>
                  </a:lnTo>
                  <a:lnTo>
                    <a:pt x="128853" y="60171"/>
                  </a:lnTo>
                  <a:cubicBezTo>
                    <a:pt x="128853" y="57149"/>
                    <a:pt x="130722" y="54571"/>
                    <a:pt x="133570" y="53594"/>
                  </a:cubicBezTo>
                  <a:cubicBezTo>
                    <a:pt x="136418" y="52705"/>
                    <a:pt x="139534" y="53682"/>
                    <a:pt x="141314" y="56082"/>
                  </a:cubicBezTo>
                  <a:lnTo>
                    <a:pt x="185282" y="115986"/>
                  </a:lnTo>
                  <a:lnTo>
                    <a:pt x="276869" y="2577"/>
                  </a:lnTo>
                  <a:cubicBezTo>
                    <a:pt x="278204" y="977"/>
                    <a:pt x="280162" y="0"/>
                    <a:pt x="282298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9" name="í$ḷidê"/>
            <p:cNvSpPr/>
            <p:nvPr/>
          </p:nvSpPr>
          <p:spPr>
            <a:xfrm>
              <a:off x="-238574" y="4207331"/>
              <a:ext cx="3669900" cy="2507225"/>
            </a:xfrm>
            <a:prstGeom prst="roundRect">
              <a:avLst>
                <a:gd name="adj" fmla="val 50000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325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zh-CN" altLang="en-US" sz="3600" dirty="0">
                  <a:solidFill>
                    <a:schemeClr val="tx1"/>
                  </a:solidFill>
                </a:rPr>
                <a:t>       游戏运行时先进入开始场景，可以选择开始游戏进入主场景开启正式游戏，也可选择退出从而退出游戏。</a:t>
              </a:r>
              <a:endParaRPr lang="en-US" altLang="zh-CN" sz="3600" dirty="0">
                <a:solidFill>
                  <a:schemeClr val="tx1"/>
                </a:solidFill>
              </a:endParaRPr>
            </a:p>
            <a:p>
              <a:pPr>
                <a:lnSpc>
                  <a:spcPct val="170000"/>
                </a:lnSpc>
                <a:spcBef>
                  <a:spcPct val="0"/>
                </a:spcBef>
              </a:pPr>
              <a:r>
                <a:rPr lang="en-US" altLang="zh-CN" sz="3600" dirty="0">
                  <a:solidFill>
                    <a:schemeClr val="tx1"/>
                  </a:solidFill>
                </a:rPr>
                <a:t>       </a:t>
              </a:r>
              <a:r>
                <a:rPr lang="zh-CN" altLang="en-US" sz="3600" dirty="0">
                  <a:solidFill>
                    <a:schemeClr val="tx1"/>
                  </a:solidFill>
                </a:rPr>
                <a:t>开始场景设置相机旋转动画，让用户一进入游戏界面就有进入</a:t>
              </a:r>
              <a:r>
                <a:rPr lang="en-US" altLang="zh-CN" sz="3600" dirty="0">
                  <a:solidFill>
                    <a:schemeClr val="tx1"/>
                  </a:solidFill>
                </a:rPr>
                <a:t>3D</a:t>
              </a:r>
              <a:r>
                <a:rPr lang="zh-CN" altLang="en-US" sz="3600" dirty="0">
                  <a:solidFill>
                    <a:schemeClr val="tx1"/>
                  </a:solidFill>
                </a:rPr>
                <a:t>游戏的感觉。</a:t>
              </a:r>
            </a:p>
            <a:p>
              <a:pPr>
                <a:spcBef>
                  <a:spcPct val="0"/>
                </a:spcBef>
              </a:pPr>
              <a:endParaRPr lang="en-US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51" name="îŝļíḍé"/>
            <p:cNvSpPr/>
            <p:nvPr/>
          </p:nvSpPr>
          <p:spPr>
            <a:xfrm>
              <a:off x="8437639" y="3502979"/>
              <a:ext cx="277126" cy="225292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dirty="0"/>
            </a:p>
          </p:txBody>
        </p:sp>
      </p:grpSp>
      <p:sp>
        <p:nvSpPr>
          <p:cNvPr id="5" name="í$ḷidê">
            <a:extLst>
              <a:ext uri="{FF2B5EF4-FFF2-40B4-BE49-F238E27FC236}">
                <a16:creationId xmlns:a16="http://schemas.microsoft.com/office/drawing/2014/main" id="{DAF89816-26F7-1783-A9B8-2275B304863A}"/>
              </a:ext>
            </a:extLst>
          </p:cNvPr>
          <p:cNvSpPr/>
          <p:nvPr/>
        </p:nvSpPr>
        <p:spPr>
          <a:xfrm>
            <a:off x="5802681" y="2809698"/>
            <a:ext cx="3598628" cy="2507225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lnSpc>
                <a:spcPct val="170000"/>
              </a:lnSpc>
              <a:spcBef>
                <a:spcPct val="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        主场景中，有地图左上方的敌人生成点，还有地图右下方的我方生命点。敌人将从生成点产生、并向着我方生命点前进，玩家需要通过创建“炮台” 来阻挡敌方的前进。当消灭所有敌人时游戏获得胜利，当敌方侵占我方生命点时游戏失败。</a:t>
            </a:r>
            <a:endParaRPr lang="en-US" altLang="zh-CN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399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BB8A01-015D-4131-8868-88B6B8479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游戏特点</a:t>
            </a:r>
          </a:p>
        </p:txBody>
      </p:sp>
      <p:grpSp>
        <p:nvGrpSpPr>
          <p:cNvPr id="25" name="41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ED50D91-BA85-407C-9C5B-450B9863602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123949"/>
            <a:ext cx="10971469" cy="4981428"/>
            <a:chOff x="669925" y="1123949"/>
            <a:chExt cx="10971469" cy="4981428"/>
          </a:xfrm>
        </p:grpSpPr>
        <p:grpSp>
          <p:nvGrpSpPr>
            <p:cNvPr id="26" name="íṩ1îdé">
              <a:extLst>
                <a:ext uri="{FF2B5EF4-FFF2-40B4-BE49-F238E27FC236}">
                  <a16:creationId xmlns:a16="http://schemas.microsoft.com/office/drawing/2014/main" id="{38FC4384-4C07-4D95-8036-9D11CBF69321}"/>
                </a:ext>
              </a:extLst>
            </p:cNvPr>
            <p:cNvGrpSpPr/>
            <p:nvPr/>
          </p:nvGrpSpPr>
          <p:grpSpPr>
            <a:xfrm>
              <a:off x="5898831" y="1123949"/>
              <a:ext cx="630869" cy="4981428"/>
              <a:chOff x="5765207" y="1204812"/>
              <a:chExt cx="609979" cy="4816476"/>
            </a:xfrm>
          </p:grpSpPr>
          <p:sp>
            <p:nvSpPr>
              <p:cNvPr id="48" name="ïSlîḓè">
                <a:extLst>
                  <a:ext uri="{FF2B5EF4-FFF2-40B4-BE49-F238E27FC236}">
                    <a16:creationId xmlns:a16="http://schemas.microsoft.com/office/drawing/2014/main" id="{87BC1466-79C7-48F8-A199-65820646DB0C}"/>
                  </a:ext>
                </a:extLst>
              </p:cNvPr>
              <p:cNvSpPr/>
              <p:nvPr/>
            </p:nvSpPr>
            <p:spPr bwMode="auto">
              <a:xfrm>
                <a:off x="5765207" y="1204812"/>
                <a:ext cx="609979" cy="408649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9" name="íşľîdè">
                <a:extLst>
                  <a:ext uri="{FF2B5EF4-FFF2-40B4-BE49-F238E27FC236}">
                    <a16:creationId xmlns:a16="http://schemas.microsoft.com/office/drawing/2014/main" id="{39861E8F-B226-4AA9-8882-EDD31EF89984}"/>
                  </a:ext>
                </a:extLst>
              </p:cNvPr>
              <p:cNvSpPr/>
              <p:nvPr/>
            </p:nvSpPr>
            <p:spPr bwMode="auto">
              <a:xfrm flipV="1">
                <a:off x="5816813" y="5291307"/>
                <a:ext cx="558373" cy="729980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0" name="îṡľîḑè">
                <a:extLst>
                  <a:ext uri="{FF2B5EF4-FFF2-40B4-BE49-F238E27FC236}">
                    <a16:creationId xmlns:a16="http://schemas.microsoft.com/office/drawing/2014/main" id="{FBC3B788-4219-40D7-862B-9F3B1F771FD7}"/>
                  </a:ext>
                </a:extLst>
              </p:cNvPr>
              <p:cNvSpPr/>
              <p:nvPr/>
            </p:nvSpPr>
            <p:spPr bwMode="auto">
              <a:xfrm flipV="1">
                <a:off x="5988050" y="5783163"/>
                <a:ext cx="220662" cy="238125"/>
              </a:xfrm>
              <a:prstGeom prst="triangl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27" name="íślïḑè">
              <a:extLst>
                <a:ext uri="{FF2B5EF4-FFF2-40B4-BE49-F238E27FC236}">
                  <a16:creationId xmlns:a16="http://schemas.microsoft.com/office/drawing/2014/main" id="{24900CDF-6E0E-4A5B-A804-8A381703C513}"/>
                </a:ext>
              </a:extLst>
            </p:cNvPr>
            <p:cNvGrpSpPr/>
            <p:nvPr/>
          </p:nvGrpSpPr>
          <p:grpSpPr>
            <a:xfrm>
              <a:off x="669925" y="2633650"/>
              <a:ext cx="5859777" cy="1193765"/>
              <a:chOff x="669925" y="1720832"/>
              <a:chExt cx="5859777" cy="1193765"/>
            </a:xfrm>
          </p:grpSpPr>
          <p:grpSp>
            <p:nvGrpSpPr>
              <p:cNvPr id="42" name="íṥlîďè">
                <a:extLst>
                  <a:ext uri="{FF2B5EF4-FFF2-40B4-BE49-F238E27FC236}">
                    <a16:creationId xmlns:a16="http://schemas.microsoft.com/office/drawing/2014/main" id="{2DB47932-BB18-4F27-AA21-715573DFA9A2}"/>
                  </a:ext>
                </a:extLst>
              </p:cNvPr>
              <p:cNvGrpSpPr/>
              <p:nvPr/>
            </p:nvGrpSpPr>
            <p:grpSpPr>
              <a:xfrm>
                <a:off x="5286374" y="1720832"/>
                <a:ext cx="1243328" cy="1193765"/>
                <a:chOff x="5286374" y="1720832"/>
                <a:chExt cx="1243328" cy="1193765"/>
              </a:xfrm>
            </p:grpSpPr>
            <p:sp>
              <p:nvSpPr>
                <p:cNvPr id="46" name="iSlíḋe">
                  <a:extLst>
                    <a:ext uri="{FF2B5EF4-FFF2-40B4-BE49-F238E27FC236}">
                      <a16:creationId xmlns:a16="http://schemas.microsoft.com/office/drawing/2014/main" id="{F61AAF1F-B602-45AB-A24B-0A9F406A5AD7}"/>
                    </a:ext>
                  </a:extLst>
                </p:cNvPr>
                <p:cNvSpPr/>
                <p:nvPr/>
              </p:nvSpPr>
              <p:spPr bwMode="auto">
                <a:xfrm>
                  <a:off x="5286374" y="1720832"/>
                  <a:ext cx="1243328" cy="1193765"/>
                </a:xfrm>
                <a:prstGeom prst="diamond">
                  <a:avLst/>
                </a:pr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7" name="í$1íḑe">
                  <a:extLst>
                    <a:ext uri="{FF2B5EF4-FFF2-40B4-BE49-F238E27FC236}">
                      <a16:creationId xmlns:a16="http://schemas.microsoft.com/office/drawing/2014/main" id="{9ABB2D8A-F40D-41C1-8EF1-B5915A9AF6CB}"/>
                    </a:ext>
                  </a:extLst>
                </p:cNvPr>
                <p:cNvSpPr/>
                <p:nvPr/>
              </p:nvSpPr>
              <p:spPr bwMode="auto">
                <a:xfrm>
                  <a:off x="5701289" y="2173160"/>
                  <a:ext cx="413499" cy="289109"/>
                </a:xfrm>
                <a:custGeom>
                  <a:avLst/>
                  <a:gdLst>
                    <a:gd name="connsiteX0" fmla="*/ 427673 w 608989"/>
                    <a:gd name="connsiteY0" fmla="*/ 323983 h 425792"/>
                    <a:gd name="connsiteX1" fmla="*/ 393797 w 608989"/>
                    <a:gd name="connsiteY1" fmla="*/ 357812 h 425792"/>
                    <a:gd name="connsiteX2" fmla="*/ 427673 w 608989"/>
                    <a:gd name="connsiteY2" fmla="*/ 391641 h 425792"/>
                    <a:gd name="connsiteX3" fmla="*/ 461549 w 608989"/>
                    <a:gd name="connsiteY3" fmla="*/ 357812 h 425792"/>
                    <a:gd name="connsiteX4" fmla="*/ 427673 w 608989"/>
                    <a:gd name="connsiteY4" fmla="*/ 323983 h 425792"/>
                    <a:gd name="connsiteX5" fmla="*/ 149568 w 608989"/>
                    <a:gd name="connsiteY5" fmla="*/ 323983 h 425792"/>
                    <a:gd name="connsiteX6" fmla="*/ 115692 w 608989"/>
                    <a:gd name="connsiteY6" fmla="*/ 357812 h 425792"/>
                    <a:gd name="connsiteX7" fmla="*/ 149568 w 608989"/>
                    <a:gd name="connsiteY7" fmla="*/ 391641 h 425792"/>
                    <a:gd name="connsiteX8" fmla="*/ 183444 w 608989"/>
                    <a:gd name="connsiteY8" fmla="*/ 357812 h 425792"/>
                    <a:gd name="connsiteX9" fmla="*/ 149568 w 608989"/>
                    <a:gd name="connsiteY9" fmla="*/ 323983 h 425792"/>
                    <a:gd name="connsiteX10" fmla="*/ 413316 w 608989"/>
                    <a:gd name="connsiteY10" fmla="*/ 145978 h 425792"/>
                    <a:gd name="connsiteX11" fmla="*/ 413316 w 608989"/>
                    <a:gd name="connsiteY11" fmla="*/ 220563 h 425792"/>
                    <a:gd name="connsiteX12" fmla="*/ 477196 w 608989"/>
                    <a:gd name="connsiteY12" fmla="*/ 220563 h 425792"/>
                    <a:gd name="connsiteX13" fmla="*/ 483971 w 608989"/>
                    <a:gd name="connsiteY13" fmla="*/ 207354 h 425792"/>
                    <a:gd name="connsiteX14" fmla="*/ 449611 w 608989"/>
                    <a:gd name="connsiteY14" fmla="*/ 159188 h 425792"/>
                    <a:gd name="connsiteX15" fmla="*/ 424124 w 608989"/>
                    <a:gd name="connsiteY15" fmla="*/ 145978 h 425792"/>
                    <a:gd name="connsiteX16" fmla="*/ 231999 w 608989"/>
                    <a:gd name="connsiteY16" fmla="*/ 145978 h 425792"/>
                    <a:gd name="connsiteX17" fmla="*/ 205705 w 608989"/>
                    <a:gd name="connsiteY17" fmla="*/ 158543 h 425792"/>
                    <a:gd name="connsiteX18" fmla="*/ 165860 w 608989"/>
                    <a:gd name="connsiteY18" fmla="*/ 207998 h 425792"/>
                    <a:gd name="connsiteX19" fmla="*/ 171990 w 608989"/>
                    <a:gd name="connsiteY19" fmla="*/ 220563 h 425792"/>
                    <a:gd name="connsiteX20" fmla="*/ 374439 w 608989"/>
                    <a:gd name="connsiteY20" fmla="*/ 220563 h 425792"/>
                    <a:gd name="connsiteX21" fmla="*/ 374439 w 608989"/>
                    <a:gd name="connsiteY21" fmla="*/ 145978 h 425792"/>
                    <a:gd name="connsiteX22" fmla="*/ 324754 w 608989"/>
                    <a:gd name="connsiteY22" fmla="*/ 64144 h 425792"/>
                    <a:gd name="connsiteX23" fmla="*/ 378472 w 608989"/>
                    <a:gd name="connsiteY23" fmla="*/ 113599 h 425792"/>
                    <a:gd name="connsiteX24" fmla="*/ 442030 w 608989"/>
                    <a:gd name="connsiteY24" fmla="*/ 113599 h 425792"/>
                    <a:gd name="connsiteX25" fmla="*/ 477196 w 608989"/>
                    <a:gd name="connsiteY25" fmla="*/ 131802 h 425792"/>
                    <a:gd name="connsiteX26" fmla="*/ 524783 w 608989"/>
                    <a:gd name="connsiteY26" fmla="*/ 199460 h 425792"/>
                    <a:gd name="connsiteX27" fmla="*/ 544625 w 608989"/>
                    <a:gd name="connsiteY27" fmla="*/ 209126 h 425792"/>
                    <a:gd name="connsiteX28" fmla="*/ 550594 w 608989"/>
                    <a:gd name="connsiteY28" fmla="*/ 208320 h 425792"/>
                    <a:gd name="connsiteX29" fmla="*/ 586728 w 608989"/>
                    <a:gd name="connsiteY29" fmla="*/ 197044 h 425792"/>
                    <a:gd name="connsiteX30" fmla="*/ 605118 w 608989"/>
                    <a:gd name="connsiteY30" fmla="*/ 200910 h 425792"/>
                    <a:gd name="connsiteX31" fmla="*/ 608828 w 608989"/>
                    <a:gd name="connsiteY31" fmla="*/ 215569 h 425792"/>
                    <a:gd name="connsiteX32" fmla="*/ 590438 w 608989"/>
                    <a:gd name="connsiteY32" fmla="*/ 353140 h 425792"/>
                    <a:gd name="connsiteX33" fmla="*/ 563337 w 608989"/>
                    <a:gd name="connsiteY33" fmla="*/ 376821 h 425792"/>
                    <a:gd name="connsiteX34" fmla="*/ 493166 w 608989"/>
                    <a:gd name="connsiteY34" fmla="*/ 376821 h 425792"/>
                    <a:gd name="connsiteX35" fmla="*/ 427673 w 608989"/>
                    <a:gd name="connsiteY35" fmla="*/ 425792 h 425792"/>
                    <a:gd name="connsiteX36" fmla="*/ 362341 w 608989"/>
                    <a:gd name="connsiteY36" fmla="*/ 376821 h 425792"/>
                    <a:gd name="connsiteX37" fmla="*/ 215061 w 608989"/>
                    <a:gd name="connsiteY37" fmla="*/ 376821 h 425792"/>
                    <a:gd name="connsiteX38" fmla="*/ 149568 w 608989"/>
                    <a:gd name="connsiteY38" fmla="*/ 425792 h 425792"/>
                    <a:gd name="connsiteX39" fmla="*/ 84074 w 608989"/>
                    <a:gd name="connsiteY39" fmla="*/ 376821 h 425792"/>
                    <a:gd name="connsiteX40" fmla="*/ 21485 w 608989"/>
                    <a:gd name="connsiteY40" fmla="*/ 376821 h 425792"/>
                    <a:gd name="connsiteX41" fmla="*/ 4869 w 608989"/>
                    <a:gd name="connsiteY41" fmla="*/ 369411 h 425792"/>
                    <a:gd name="connsiteX42" fmla="*/ 352 w 608989"/>
                    <a:gd name="connsiteY42" fmla="*/ 352013 h 425792"/>
                    <a:gd name="connsiteX43" fmla="*/ 15516 w 608989"/>
                    <a:gd name="connsiteY43" fmla="*/ 260513 h 425792"/>
                    <a:gd name="connsiteX44" fmla="*/ 41649 w 608989"/>
                    <a:gd name="connsiteY44" fmla="*/ 232806 h 425792"/>
                    <a:gd name="connsiteX45" fmla="*/ 95850 w 608989"/>
                    <a:gd name="connsiteY45" fmla="*/ 220402 h 425792"/>
                    <a:gd name="connsiteX46" fmla="*/ 125532 w 608989"/>
                    <a:gd name="connsiteY46" fmla="*/ 201877 h 425792"/>
                    <a:gd name="connsiteX47" fmla="*/ 181992 w 608989"/>
                    <a:gd name="connsiteY47" fmla="*/ 130836 h 425792"/>
                    <a:gd name="connsiteX48" fmla="*/ 217965 w 608989"/>
                    <a:gd name="connsiteY48" fmla="*/ 113599 h 425792"/>
                    <a:gd name="connsiteX49" fmla="*/ 271037 w 608989"/>
                    <a:gd name="connsiteY49" fmla="*/ 113599 h 425792"/>
                    <a:gd name="connsiteX50" fmla="*/ 324754 w 608989"/>
                    <a:gd name="connsiteY50" fmla="*/ 64144 h 425792"/>
                    <a:gd name="connsiteX51" fmla="*/ 387520 w 608989"/>
                    <a:gd name="connsiteY51" fmla="*/ 28830 h 425792"/>
                    <a:gd name="connsiteX52" fmla="*/ 399145 w 608989"/>
                    <a:gd name="connsiteY52" fmla="*/ 31087 h 425792"/>
                    <a:gd name="connsiteX53" fmla="*/ 396885 w 608989"/>
                    <a:gd name="connsiteY53" fmla="*/ 42857 h 425792"/>
                    <a:gd name="connsiteX54" fmla="*/ 375734 w 608989"/>
                    <a:gd name="connsiteY54" fmla="*/ 57047 h 425792"/>
                    <a:gd name="connsiteX55" fmla="*/ 371052 w 608989"/>
                    <a:gd name="connsiteY55" fmla="*/ 58498 h 425792"/>
                    <a:gd name="connsiteX56" fmla="*/ 363948 w 608989"/>
                    <a:gd name="connsiteY56" fmla="*/ 54789 h 425792"/>
                    <a:gd name="connsiteX57" fmla="*/ 366370 w 608989"/>
                    <a:gd name="connsiteY57" fmla="*/ 43019 h 425792"/>
                    <a:gd name="connsiteX58" fmla="*/ 261676 w 608989"/>
                    <a:gd name="connsiteY58" fmla="*/ 28830 h 425792"/>
                    <a:gd name="connsiteX59" fmla="*/ 282789 w 608989"/>
                    <a:gd name="connsiteY59" fmla="*/ 43019 h 425792"/>
                    <a:gd name="connsiteX60" fmla="*/ 285045 w 608989"/>
                    <a:gd name="connsiteY60" fmla="*/ 54789 h 425792"/>
                    <a:gd name="connsiteX61" fmla="*/ 277954 w 608989"/>
                    <a:gd name="connsiteY61" fmla="*/ 58498 h 425792"/>
                    <a:gd name="connsiteX62" fmla="*/ 273280 w 608989"/>
                    <a:gd name="connsiteY62" fmla="*/ 57047 h 425792"/>
                    <a:gd name="connsiteX63" fmla="*/ 252166 w 608989"/>
                    <a:gd name="connsiteY63" fmla="*/ 42857 h 425792"/>
                    <a:gd name="connsiteX64" fmla="*/ 249910 w 608989"/>
                    <a:gd name="connsiteY64" fmla="*/ 31087 h 425792"/>
                    <a:gd name="connsiteX65" fmla="*/ 261676 w 608989"/>
                    <a:gd name="connsiteY65" fmla="*/ 28830 h 425792"/>
                    <a:gd name="connsiteX66" fmla="*/ 324611 w 608989"/>
                    <a:gd name="connsiteY66" fmla="*/ 0 h 425792"/>
                    <a:gd name="connsiteX67" fmla="*/ 332998 w 608989"/>
                    <a:gd name="connsiteY67" fmla="*/ 8381 h 425792"/>
                    <a:gd name="connsiteX68" fmla="*/ 332998 w 608989"/>
                    <a:gd name="connsiteY68" fmla="*/ 35298 h 425792"/>
                    <a:gd name="connsiteX69" fmla="*/ 324611 w 608989"/>
                    <a:gd name="connsiteY69" fmla="*/ 43680 h 425792"/>
                    <a:gd name="connsiteX70" fmla="*/ 316062 w 608989"/>
                    <a:gd name="connsiteY70" fmla="*/ 35298 h 425792"/>
                    <a:gd name="connsiteX71" fmla="*/ 316062 w 608989"/>
                    <a:gd name="connsiteY71" fmla="*/ 8381 h 425792"/>
                    <a:gd name="connsiteX72" fmla="*/ 324611 w 608989"/>
                    <a:gd name="connsiteY72" fmla="*/ 0 h 425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608989" h="425792">
                      <a:moveTo>
                        <a:pt x="427673" y="323983"/>
                      </a:moveTo>
                      <a:cubicBezTo>
                        <a:pt x="408960" y="323983"/>
                        <a:pt x="393797" y="339126"/>
                        <a:pt x="393797" y="357812"/>
                      </a:cubicBezTo>
                      <a:cubicBezTo>
                        <a:pt x="393797" y="376499"/>
                        <a:pt x="408960" y="391641"/>
                        <a:pt x="427673" y="391641"/>
                      </a:cubicBezTo>
                      <a:cubicBezTo>
                        <a:pt x="446385" y="391641"/>
                        <a:pt x="461549" y="376499"/>
                        <a:pt x="461549" y="357812"/>
                      </a:cubicBezTo>
                      <a:cubicBezTo>
                        <a:pt x="461549" y="339126"/>
                        <a:pt x="446385" y="323983"/>
                        <a:pt x="427673" y="323983"/>
                      </a:cubicBezTo>
                      <a:close/>
                      <a:moveTo>
                        <a:pt x="149568" y="323983"/>
                      </a:moveTo>
                      <a:cubicBezTo>
                        <a:pt x="130855" y="323983"/>
                        <a:pt x="115692" y="339126"/>
                        <a:pt x="115692" y="357812"/>
                      </a:cubicBezTo>
                      <a:cubicBezTo>
                        <a:pt x="115692" y="376499"/>
                        <a:pt x="130855" y="391641"/>
                        <a:pt x="149568" y="391641"/>
                      </a:cubicBezTo>
                      <a:cubicBezTo>
                        <a:pt x="168280" y="391641"/>
                        <a:pt x="183444" y="376499"/>
                        <a:pt x="183444" y="357812"/>
                      </a:cubicBezTo>
                      <a:cubicBezTo>
                        <a:pt x="183444" y="339126"/>
                        <a:pt x="168280" y="323983"/>
                        <a:pt x="149568" y="323983"/>
                      </a:cubicBezTo>
                      <a:close/>
                      <a:moveTo>
                        <a:pt x="413316" y="145978"/>
                      </a:moveTo>
                      <a:lnTo>
                        <a:pt x="413316" y="220563"/>
                      </a:lnTo>
                      <a:lnTo>
                        <a:pt x="477196" y="220563"/>
                      </a:lnTo>
                      <a:cubicBezTo>
                        <a:pt x="486068" y="220563"/>
                        <a:pt x="489133" y="214603"/>
                        <a:pt x="483971" y="207354"/>
                      </a:cubicBezTo>
                      <a:lnTo>
                        <a:pt x="449611" y="159188"/>
                      </a:lnTo>
                      <a:cubicBezTo>
                        <a:pt x="444449" y="151939"/>
                        <a:pt x="432996" y="145978"/>
                        <a:pt x="424124" y="145978"/>
                      </a:cubicBezTo>
                      <a:close/>
                      <a:moveTo>
                        <a:pt x="231999" y="145978"/>
                      </a:moveTo>
                      <a:cubicBezTo>
                        <a:pt x="223127" y="145978"/>
                        <a:pt x="211351" y="151616"/>
                        <a:pt x="205705" y="158543"/>
                      </a:cubicBezTo>
                      <a:lnTo>
                        <a:pt x="165860" y="207998"/>
                      </a:lnTo>
                      <a:cubicBezTo>
                        <a:pt x="160376" y="214925"/>
                        <a:pt x="163118" y="220563"/>
                        <a:pt x="171990" y="220563"/>
                      </a:cubicBezTo>
                      <a:lnTo>
                        <a:pt x="374439" y="220563"/>
                      </a:lnTo>
                      <a:lnTo>
                        <a:pt x="374439" y="145978"/>
                      </a:lnTo>
                      <a:close/>
                      <a:moveTo>
                        <a:pt x="324754" y="64144"/>
                      </a:moveTo>
                      <a:cubicBezTo>
                        <a:pt x="352984" y="64144"/>
                        <a:pt x="376214" y="85891"/>
                        <a:pt x="378472" y="113599"/>
                      </a:cubicBezTo>
                      <a:lnTo>
                        <a:pt x="442030" y="113599"/>
                      </a:lnTo>
                      <a:cubicBezTo>
                        <a:pt x="454612" y="113599"/>
                        <a:pt x="470098" y="121654"/>
                        <a:pt x="477196" y="131802"/>
                      </a:cubicBezTo>
                      <a:lnTo>
                        <a:pt x="524783" y="199460"/>
                      </a:lnTo>
                      <a:cubicBezTo>
                        <a:pt x="528816" y="205259"/>
                        <a:pt x="536882" y="209126"/>
                        <a:pt x="544625" y="209126"/>
                      </a:cubicBezTo>
                      <a:cubicBezTo>
                        <a:pt x="546883" y="209126"/>
                        <a:pt x="548819" y="208803"/>
                        <a:pt x="550594" y="208320"/>
                      </a:cubicBezTo>
                      <a:lnTo>
                        <a:pt x="586728" y="197044"/>
                      </a:lnTo>
                      <a:cubicBezTo>
                        <a:pt x="593987" y="194627"/>
                        <a:pt x="600924" y="196238"/>
                        <a:pt x="605118" y="200910"/>
                      </a:cubicBezTo>
                      <a:cubicBezTo>
                        <a:pt x="608183" y="204454"/>
                        <a:pt x="609473" y="209770"/>
                        <a:pt x="608828" y="215569"/>
                      </a:cubicBezTo>
                      <a:lnTo>
                        <a:pt x="590438" y="353140"/>
                      </a:lnTo>
                      <a:cubicBezTo>
                        <a:pt x="588664" y="366189"/>
                        <a:pt x="576565" y="376821"/>
                        <a:pt x="563337" y="376821"/>
                      </a:cubicBezTo>
                      <a:lnTo>
                        <a:pt x="493166" y="376821"/>
                      </a:lnTo>
                      <a:cubicBezTo>
                        <a:pt x="484939" y="405012"/>
                        <a:pt x="458806" y="425792"/>
                        <a:pt x="427673" y="425792"/>
                      </a:cubicBezTo>
                      <a:cubicBezTo>
                        <a:pt x="396700" y="425792"/>
                        <a:pt x="370568" y="405012"/>
                        <a:pt x="362341" y="376821"/>
                      </a:cubicBezTo>
                      <a:lnTo>
                        <a:pt x="215061" y="376821"/>
                      </a:lnTo>
                      <a:cubicBezTo>
                        <a:pt x="206834" y="405012"/>
                        <a:pt x="180540" y="425792"/>
                        <a:pt x="149568" y="425792"/>
                      </a:cubicBezTo>
                      <a:cubicBezTo>
                        <a:pt x="118595" y="425792"/>
                        <a:pt x="92301" y="405012"/>
                        <a:pt x="84074" y="376821"/>
                      </a:cubicBezTo>
                      <a:lnTo>
                        <a:pt x="21485" y="376821"/>
                      </a:lnTo>
                      <a:cubicBezTo>
                        <a:pt x="14871" y="376821"/>
                        <a:pt x="8902" y="374082"/>
                        <a:pt x="4869" y="369411"/>
                      </a:cubicBezTo>
                      <a:cubicBezTo>
                        <a:pt x="836" y="364739"/>
                        <a:pt x="-777" y="358456"/>
                        <a:pt x="352" y="352013"/>
                      </a:cubicBezTo>
                      <a:lnTo>
                        <a:pt x="15516" y="260513"/>
                      </a:lnTo>
                      <a:cubicBezTo>
                        <a:pt x="17613" y="247787"/>
                        <a:pt x="29066" y="235544"/>
                        <a:pt x="41649" y="232806"/>
                      </a:cubicBezTo>
                      <a:lnTo>
                        <a:pt x="95850" y="220402"/>
                      </a:lnTo>
                      <a:cubicBezTo>
                        <a:pt x="105690" y="218147"/>
                        <a:pt x="119241" y="209770"/>
                        <a:pt x="125532" y="201877"/>
                      </a:cubicBezTo>
                      <a:lnTo>
                        <a:pt x="181992" y="130836"/>
                      </a:lnTo>
                      <a:cubicBezTo>
                        <a:pt x="189735" y="121170"/>
                        <a:pt x="205544" y="113599"/>
                        <a:pt x="217965" y="113599"/>
                      </a:cubicBezTo>
                      <a:lnTo>
                        <a:pt x="271037" y="113599"/>
                      </a:lnTo>
                      <a:cubicBezTo>
                        <a:pt x="273295" y="85891"/>
                        <a:pt x="296525" y="64144"/>
                        <a:pt x="324754" y="64144"/>
                      </a:cubicBezTo>
                      <a:close/>
                      <a:moveTo>
                        <a:pt x="387520" y="28830"/>
                      </a:moveTo>
                      <a:cubicBezTo>
                        <a:pt x="391395" y="26250"/>
                        <a:pt x="396562" y="27217"/>
                        <a:pt x="399145" y="31087"/>
                      </a:cubicBezTo>
                      <a:cubicBezTo>
                        <a:pt x="401728" y="34957"/>
                        <a:pt x="400760" y="40278"/>
                        <a:pt x="396885" y="42857"/>
                      </a:cubicBezTo>
                      <a:lnTo>
                        <a:pt x="375734" y="57047"/>
                      </a:lnTo>
                      <a:cubicBezTo>
                        <a:pt x="374281" y="58014"/>
                        <a:pt x="372667" y="58498"/>
                        <a:pt x="371052" y="58498"/>
                      </a:cubicBezTo>
                      <a:cubicBezTo>
                        <a:pt x="368308" y="58498"/>
                        <a:pt x="365724" y="57208"/>
                        <a:pt x="363948" y="54789"/>
                      </a:cubicBezTo>
                      <a:cubicBezTo>
                        <a:pt x="361365" y="50919"/>
                        <a:pt x="362495" y="45599"/>
                        <a:pt x="366370" y="43019"/>
                      </a:cubicBezTo>
                      <a:close/>
                      <a:moveTo>
                        <a:pt x="261676" y="28830"/>
                      </a:moveTo>
                      <a:lnTo>
                        <a:pt x="282789" y="43019"/>
                      </a:lnTo>
                      <a:cubicBezTo>
                        <a:pt x="286657" y="45599"/>
                        <a:pt x="287624" y="50919"/>
                        <a:pt x="285045" y="54789"/>
                      </a:cubicBezTo>
                      <a:cubicBezTo>
                        <a:pt x="283434" y="57208"/>
                        <a:pt x="280694" y="58498"/>
                        <a:pt x="277954" y="58498"/>
                      </a:cubicBezTo>
                      <a:cubicBezTo>
                        <a:pt x="276342" y="58498"/>
                        <a:pt x="274730" y="58014"/>
                        <a:pt x="273280" y="57047"/>
                      </a:cubicBezTo>
                      <a:lnTo>
                        <a:pt x="252166" y="42857"/>
                      </a:lnTo>
                      <a:cubicBezTo>
                        <a:pt x="248298" y="40278"/>
                        <a:pt x="247331" y="34957"/>
                        <a:pt x="249910" y="31087"/>
                      </a:cubicBezTo>
                      <a:cubicBezTo>
                        <a:pt x="252489" y="27217"/>
                        <a:pt x="257807" y="26250"/>
                        <a:pt x="261676" y="28830"/>
                      </a:cubicBezTo>
                      <a:close/>
                      <a:moveTo>
                        <a:pt x="324611" y="0"/>
                      </a:moveTo>
                      <a:cubicBezTo>
                        <a:pt x="329288" y="0"/>
                        <a:pt x="332998" y="3707"/>
                        <a:pt x="332998" y="8381"/>
                      </a:cubicBezTo>
                      <a:lnTo>
                        <a:pt x="332998" y="35298"/>
                      </a:lnTo>
                      <a:cubicBezTo>
                        <a:pt x="332998" y="39973"/>
                        <a:pt x="329288" y="43680"/>
                        <a:pt x="324611" y="43680"/>
                      </a:cubicBezTo>
                      <a:cubicBezTo>
                        <a:pt x="319933" y="43680"/>
                        <a:pt x="316062" y="39973"/>
                        <a:pt x="316062" y="35298"/>
                      </a:cubicBezTo>
                      <a:lnTo>
                        <a:pt x="316062" y="8381"/>
                      </a:lnTo>
                      <a:cubicBezTo>
                        <a:pt x="316062" y="3707"/>
                        <a:pt x="319933" y="0"/>
                        <a:pt x="3246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43" name="íṡļîḋê">
                <a:extLst>
                  <a:ext uri="{FF2B5EF4-FFF2-40B4-BE49-F238E27FC236}">
                    <a16:creationId xmlns:a16="http://schemas.microsoft.com/office/drawing/2014/main" id="{9C146360-9645-4173-BAA2-EC52E29EDC5E}"/>
                  </a:ext>
                </a:extLst>
              </p:cNvPr>
              <p:cNvGrpSpPr/>
              <p:nvPr/>
            </p:nvGrpSpPr>
            <p:grpSpPr>
              <a:xfrm>
                <a:off x="669925" y="1853534"/>
                <a:ext cx="4605122" cy="906236"/>
                <a:chOff x="1316991" y="1986688"/>
                <a:chExt cx="3507423" cy="906236"/>
              </a:xfrm>
            </p:grpSpPr>
            <p:sp>
              <p:nvSpPr>
                <p:cNvPr id="44" name="ïṣ1îḋe">
                  <a:extLst>
                    <a:ext uri="{FF2B5EF4-FFF2-40B4-BE49-F238E27FC236}">
                      <a16:creationId xmlns:a16="http://schemas.microsoft.com/office/drawing/2014/main" id="{29B87C8C-F74D-4B92-BF03-8C0E76CCA189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 algn="r">
                    <a:spcBef>
                      <a:spcPct val="0"/>
                    </a:spcBef>
                  </a:pPr>
                  <a:r>
                    <a:rPr lang="zh-CN" altLang="en-US" b="1" dirty="0"/>
                    <a:t>友善的</a:t>
                  </a:r>
                  <a:r>
                    <a:rPr lang="en-US" altLang="zh-CN" b="1" dirty="0"/>
                    <a:t>UI</a:t>
                  </a:r>
                  <a:r>
                    <a:rPr lang="zh-CN" altLang="en-US" b="1" dirty="0"/>
                    <a:t>交互</a:t>
                  </a:r>
                </a:p>
              </p:txBody>
            </p:sp>
            <p:sp>
              <p:nvSpPr>
                <p:cNvPr id="45" name="îṩ1íḑê">
                  <a:extLst>
                    <a:ext uri="{FF2B5EF4-FFF2-40B4-BE49-F238E27FC236}">
                      <a16:creationId xmlns:a16="http://schemas.microsoft.com/office/drawing/2014/main" id="{E6DB3BB2-1A32-4448-85C5-7373ADB772E8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4786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77500" lnSpcReduction="200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zh-CN" altLang="en-US" sz="1500" dirty="0"/>
                    <a:t>游戏中设置有大量与用户交互的界面，用户除了可以进行游戏开始、结束，还可以在游戏中进行视角的切换等。</a:t>
                  </a:r>
                </a:p>
                <a:p>
                  <a:pPr algn="r">
                    <a:lnSpc>
                      <a:spcPct val="120000"/>
                    </a:lnSpc>
                  </a:pPr>
                  <a:endParaRPr lang="en-US" altLang="zh-CN" sz="1500" dirty="0"/>
                </a:p>
              </p:txBody>
            </p:sp>
          </p:grpSp>
        </p:grpSp>
        <p:grpSp>
          <p:nvGrpSpPr>
            <p:cNvPr id="28" name="ïŝ1íde">
              <a:extLst>
                <a:ext uri="{FF2B5EF4-FFF2-40B4-BE49-F238E27FC236}">
                  <a16:creationId xmlns:a16="http://schemas.microsoft.com/office/drawing/2014/main" id="{D3CDBF24-81A8-4E7C-A392-F95DFC78CD8A}"/>
                </a:ext>
              </a:extLst>
            </p:cNvPr>
            <p:cNvGrpSpPr/>
            <p:nvPr/>
          </p:nvGrpSpPr>
          <p:grpSpPr>
            <a:xfrm>
              <a:off x="5898833" y="2036768"/>
              <a:ext cx="5742561" cy="1338319"/>
              <a:chOff x="5898833" y="1123950"/>
              <a:chExt cx="5742561" cy="1338319"/>
            </a:xfrm>
          </p:grpSpPr>
          <p:grpSp>
            <p:nvGrpSpPr>
              <p:cNvPr id="36" name="ïslíďé">
                <a:extLst>
                  <a:ext uri="{FF2B5EF4-FFF2-40B4-BE49-F238E27FC236}">
                    <a16:creationId xmlns:a16="http://schemas.microsoft.com/office/drawing/2014/main" id="{D577BA73-C0C0-41FF-942F-84DC5FF320C9}"/>
                  </a:ext>
                </a:extLst>
              </p:cNvPr>
              <p:cNvGrpSpPr/>
              <p:nvPr/>
            </p:nvGrpSpPr>
            <p:grpSpPr>
              <a:xfrm>
                <a:off x="5898833" y="1123950"/>
                <a:ext cx="1243328" cy="1193765"/>
                <a:chOff x="5898833" y="1123950"/>
                <a:chExt cx="1243328" cy="1193765"/>
              </a:xfrm>
            </p:grpSpPr>
            <p:sp>
              <p:nvSpPr>
                <p:cNvPr id="40" name="îslîḍè">
                  <a:extLst>
                    <a:ext uri="{FF2B5EF4-FFF2-40B4-BE49-F238E27FC236}">
                      <a16:creationId xmlns:a16="http://schemas.microsoft.com/office/drawing/2014/main" id="{318829E2-D9F4-443E-9B3C-FDF3D49FD6B1}"/>
                    </a:ext>
                  </a:extLst>
                </p:cNvPr>
                <p:cNvSpPr/>
                <p:nvPr/>
              </p:nvSpPr>
              <p:spPr bwMode="auto">
                <a:xfrm>
                  <a:off x="5898833" y="1123950"/>
                  <a:ext cx="1243328" cy="1193765"/>
                </a:xfrm>
                <a:prstGeom prst="diamond">
                  <a:avLst/>
                </a:pr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1" name="ïṩḻiďe">
                  <a:extLst>
                    <a:ext uri="{FF2B5EF4-FFF2-40B4-BE49-F238E27FC236}">
                      <a16:creationId xmlns:a16="http://schemas.microsoft.com/office/drawing/2014/main" id="{CA3ABB45-2871-48B5-97CB-99A85D6F1AD3}"/>
                    </a:ext>
                  </a:extLst>
                </p:cNvPr>
                <p:cNvSpPr/>
                <p:nvPr/>
              </p:nvSpPr>
              <p:spPr bwMode="auto">
                <a:xfrm>
                  <a:off x="6313748" y="1570430"/>
                  <a:ext cx="413499" cy="300805"/>
                </a:xfrm>
                <a:custGeom>
                  <a:avLst/>
                  <a:gdLst>
                    <a:gd name="T0" fmla="*/ 5633 w 5757"/>
                    <a:gd name="T1" fmla="*/ 1244 h 4194"/>
                    <a:gd name="T2" fmla="*/ 5210 w 5757"/>
                    <a:gd name="T3" fmla="*/ 1244 h 4194"/>
                    <a:gd name="T4" fmla="*/ 5124 w 5757"/>
                    <a:gd name="T5" fmla="*/ 1278 h 4194"/>
                    <a:gd name="T6" fmla="*/ 5034 w 5757"/>
                    <a:gd name="T7" fmla="*/ 1365 h 4194"/>
                    <a:gd name="T8" fmla="*/ 4370 w 5757"/>
                    <a:gd name="T9" fmla="*/ 306 h 4194"/>
                    <a:gd name="T10" fmla="*/ 3724 w 5757"/>
                    <a:gd name="T11" fmla="*/ 0 h 4194"/>
                    <a:gd name="T12" fmla="*/ 2033 w 5757"/>
                    <a:gd name="T13" fmla="*/ 0 h 4194"/>
                    <a:gd name="T14" fmla="*/ 1388 w 5757"/>
                    <a:gd name="T15" fmla="*/ 306 h 4194"/>
                    <a:gd name="T16" fmla="*/ 722 w 5757"/>
                    <a:gd name="T17" fmla="*/ 1364 h 4194"/>
                    <a:gd name="T18" fmla="*/ 633 w 5757"/>
                    <a:gd name="T19" fmla="*/ 1278 h 4194"/>
                    <a:gd name="T20" fmla="*/ 547 w 5757"/>
                    <a:gd name="T21" fmla="*/ 1244 h 4194"/>
                    <a:gd name="T22" fmla="*/ 125 w 5757"/>
                    <a:gd name="T23" fmla="*/ 1244 h 4194"/>
                    <a:gd name="T24" fmla="*/ 0 w 5757"/>
                    <a:gd name="T25" fmla="*/ 1368 h 4194"/>
                    <a:gd name="T26" fmla="*/ 0 w 5757"/>
                    <a:gd name="T27" fmla="*/ 1657 h 4194"/>
                    <a:gd name="T28" fmla="*/ 117 w 5757"/>
                    <a:gd name="T29" fmla="*/ 1782 h 4194"/>
                    <a:gd name="T30" fmla="*/ 551 w 5757"/>
                    <a:gd name="T31" fmla="*/ 1809 h 4194"/>
                    <a:gd name="T32" fmla="*/ 434 w 5757"/>
                    <a:gd name="T33" fmla="*/ 2689 h 4194"/>
                    <a:gd name="T34" fmla="*/ 625 w 5757"/>
                    <a:gd name="T35" fmla="*/ 3416 h 4194"/>
                    <a:gd name="T36" fmla="*/ 625 w 5757"/>
                    <a:gd name="T37" fmla="*/ 4089 h 4194"/>
                    <a:gd name="T38" fmla="*/ 730 w 5757"/>
                    <a:gd name="T39" fmla="*/ 4194 h 4194"/>
                    <a:gd name="T40" fmla="*/ 1210 w 5757"/>
                    <a:gd name="T41" fmla="*/ 4194 h 4194"/>
                    <a:gd name="T42" fmla="*/ 1315 w 5757"/>
                    <a:gd name="T43" fmla="*/ 4089 h 4194"/>
                    <a:gd name="T44" fmla="*/ 1315 w 5757"/>
                    <a:gd name="T45" fmla="*/ 3671 h 4194"/>
                    <a:gd name="T46" fmla="*/ 4443 w 5757"/>
                    <a:gd name="T47" fmla="*/ 3671 h 4194"/>
                    <a:gd name="T48" fmla="*/ 4443 w 5757"/>
                    <a:gd name="T49" fmla="*/ 4089 h 4194"/>
                    <a:gd name="T50" fmla="*/ 4547 w 5757"/>
                    <a:gd name="T51" fmla="*/ 4194 h 4194"/>
                    <a:gd name="T52" fmla="*/ 5027 w 5757"/>
                    <a:gd name="T53" fmla="*/ 4194 h 4194"/>
                    <a:gd name="T54" fmla="*/ 5132 w 5757"/>
                    <a:gd name="T55" fmla="*/ 4089 h 4194"/>
                    <a:gd name="T56" fmla="*/ 5132 w 5757"/>
                    <a:gd name="T57" fmla="*/ 3416 h 4194"/>
                    <a:gd name="T58" fmla="*/ 5323 w 5757"/>
                    <a:gd name="T59" fmla="*/ 2689 h 4194"/>
                    <a:gd name="T60" fmla="*/ 5206 w 5757"/>
                    <a:gd name="T61" fmla="*/ 1809 h 4194"/>
                    <a:gd name="T62" fmla="*/ 5640 w 5757"/>
                    <a:gd name="T63" fmla="*/ 1782 h 4194"/>
                    <a:gd name="T64" fmla="*/ 5757 w 5757"/>
                    <a:gd name="T65" fmla="*/ 1657 h 4194"/>
                    <a:gd name="T66" fmla="*/ 5757 w 5757"/>
                    <a:gd name="T67" fmla="*/ 1368 h 4194"/>
                    <a:gd name="T68" fmla="*/ 5633 w 5757"/>
                    <a:gd name="T69" fmla="*/ 1244 h 4194"/>
                    <a:gd name="T70" fmla="*/ 1744 w 5757"/>
                    <a:gd name="T71" fmla="*/ 597 h 4194"/>
                    <a:gd name="T72" fmla="*/ 2033 w 5757"/>
                    <a:gd name="T73" fmla="*/ 460 h 4194"/>
                    <a:gd name="T74" fmla="*/ 3724 w 5757"/>
                    <a:gd name="T75" fmla="*/ 460 h 4194"/>
                    <a:gd name="T76" fmla="*/ 4013 w 5757"/>
                    <a:gd name="T77" fmla="*/ 597 h 4194"/>
                    <a:gd name="T78" fmla="*/ 4507 w 5757"/>
                    <a:gd name="T79" fmla="*/ 1330 h 4194"/>
                    <a:gd name="T80" fmla="*/ 1247 w 5757"/>
                    <a:gd name="T81" fmla="*/ 1331 h 4194"/>
                    <a:gd name="T82" fmla="*/ 1744 w 5757"/>
                    <a:gd name="T83" fmla="*/ 597 h 4194"/>
                    <a:gd name="T84" fmla="*/ 1389 w 5757"/>
                    <a:gd name="T85" fmla="*/ 3161 h 4194"/>
                    <a:gd name="T86" fmla="*/ 956 w 5757"/>
                    <a:gd name="T87" fmla="*/ 2893 h 4194"/>
                    <a:gd name="T88" fmla="*/ 1265 w 5757"/>
                    <a:gd name="T89" fmla="*/ 2550 h 4194"/>
                    <a:gd name="T90" fmla="*/ 1822 w 5757"/>
                    <a:gd name="T91" fmla="*/ 2893 h 4194"/>
                    <a:gd name="T92" fmla="*/ 1389 w 5757"/>
                    <a:gd name="T93" fmla="*/ 3161 h 4194"/>
                    <a:gd name="T94" fmla="*/ 3332 w 5757"/>
                    <a:gd name="T95" fmla="*/ 3121 h 4194"/>
                    <a:gd name="T96" fmla="*/ 2425 w 5757"/>
                    <a:gd name="T97" fmla="*/ 3121 h 4194"/>
                    <a:gd name="T98" fmla="*/ 2177 w 5757"/>
                    <a:gd name="T99" fmla="*/ 2873 h 4194"/>
                    <a:gd name="T100" fmla="*/ 2246 w 5757"/>
                    <a:gd name="T101" fmla="*/ 2803 h 4194"/>
                    <a:gd name="T102" fmla="*/ 3511 w 5757"/>
                    <a:gd name="T103" fmla="*/ 2803 h 4194"/>
                    <a:gd name="T104" fmla="*/ 3581 w 5757"/>
                    <a:gd name="T105" fmla="*/ 2873 h 4194"/>
                    <a:gd name="T106" fmla="*/ 3332 w 5757"/>
                    <a:gd name="T107" fmla="*/ 3121 h 4194"/>
                    <a:gd name="T108" fmla="*/ 4368 w 5757"/>
                    <a:gd name="T109" fmla="*/ 3161 h 4194"/>
                    <a:gd name="T110" fmla="*/ 3936 w 5757"/>
                    <a:gd name="T111" fmla="*/ 2893 h 4194"/>
                    <a:gd name="T112" fmla="*/ 4492 w 5757"/>
                    <a:gd name="T113" fmla="*/ 2550 h 4194"/>
                    <a:gd name="T114" fmla="*/ 4801 w 5757"/>
                    <a:gd name="T115" fmla="*/ 2893 h 4194"/>
                    <a:gd name="T116" fmla="*/ 4368 w 5757"/>
                    <a:gd name="T117" fmla="*/ 3161 h 4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757" h="4194">
                      <a:moveTo>
                        <a:pt x="5633" y="1244"/>
                      </a:moveTo>
                      <a:lnTo>
                        <a:pt x="5210" y="1244"/>
                      </a:lnTo>
                      <a:cubicBezTo>
                        <a:pt x="5178" y="1244"/>
                        <a:pt x="5147" y="1256"/>
                        <a:pt x="5124" y="1278"/>
                      </a:cubicBezTo>
                      <a:lnTo>
                        <a:pt x="5034" y="1365"/>
                      </a:lnTo>
                      <a:cubicBezTo>
                        <a:pt x="4882" y="1013"/>
                        <a:pt x="4664" y="666"/>
                        <a:pt x="4370" y="306"/>
                      </a:cubicBezTo>
                      <a:cubicBezTo>
                        <a:pt x="4210" y="111"/>
                        <a:pt x="3975" y="0"/>
                        <a:pt x="3724" y="0"/>
                      </a:cubicBezTo>
                      <a:lnTo>
                        <a:pt x="2033" y="0"/>
                      </a:lnTo>
                      <a:cubicBezTo>
                        <a:pt x="1782" y="0"/>
                        <a:pt x="1547" y="111"/>
                        <a:pt x="1388" y="306"/>
                      </a:cubicBezTo>
                      <a:cubicBezTo>
                        <a:pt x="1084" y="677"/>
                        <a:pt x="870" y="1016"/>
                        <a:pt x="722" y="1364"/>
                      </a:cubicBezTo>
                      <a:lnTo>
                        <a:pt x="633" y="1278"/>
                      </a:lnTo>
                      <a:cubicBezTo>
                        <a:pt x="610" y="1256"/>
                        <a:pt x="579" y="1244"/>
                        <a:pt x="547" y="1244"/>
                      </a:cubicBezTo>
                      <a:lnTo>
                        <a:pt x="125" y="1244"/>
                      </a:lnTo>
                      <a:cubicBezTo>
                        <a:pt x="56" y="1244"/>
                        <a:pt x="0" y="1300"/>
                        <a:pt x="0" y="1368"/>
                      </a:cubicBezTo>
                      <a:lnTo>
                        <a:pt x="0" y="1657"/>
                      </a:lnTo>
                      <a:cubicBezTo>
                        <a:pt x="0" y="1723"/>
                        <a:pt x="51" y="1777"/>
                        <a:pt x="117" y="1782"/>
                      </a:cubicBezTo>
                      <a:lnTo>
                        <a:pt x="551" y="1809"/>
                      </a:lnTo>
                      <a:cubicBezTo>
                        <a:pt x="485" y="2001"/>
                        <a:pt x="434" y="2286"/>
                        <a:pt x="434" y="2689"/>
                      </a:cubicBezTo>
                      <a:cubicBezTo>
                        <a:pt x="434" y="3038"/>
                        <a:pt x="504" y="3268"/>
                        <a:pt x="625" y="3416"/>
                      </a:cubicBezTo>
                      <a:lnTo>
                        <a:pt x="625" y="4089"/>
                      </a:lnTo>
                      <a:cubicBezTo>
                        <a:pt x="625" y="4147"/>
                        <a:pt x="672" y="4194"/>
                        <a:pt x="730" y="4194"/>
                      </a:cubicBezTo>
                      <a:lnTo>
                        <a:pt x="1210" y="4194"/>
                      </a:lnTo>
                      <a:cubicBezTo>
                        <a:pt x="1268" y="4194"/>
                        <a:pt x="1315" y="4147"/>
                        <a:pt x="1315" y="4089"/>
                      </a:cubicBezTo>
                      <a:lnTo>
                        <a:pt x="1315" y="3671"/>
                      </a:lnTo>
                      <a:lnTo>
                        <a:pt x="4443" y="3671"/>
                      </a:lnTo>
                      <a:lnTo>
                        <a:pt x="4443" y="4089"/>
                      </a:lnTo>
                      <a:cubicBezTo>
                        <a:pt x="4443" y="4147"/>
                        <a:pt x="4489" y="4194"/>
                        <a:pt x="4547" y="4194"/>
                      </a:cubicBezTo>
                      <a:lnTo>
                        <a:pt x="5027" y="4194"/>
                      </a:lnTo>
                      <a:cubicBezTo>
                        <a:pt x="5085" y="4194"/>
                        <a:pt x="5132" y="4147"/>
                        <a:pt x="5132" y="4089"/>
                      </a:cubicBezTo>
                      <a:lnTo>
                        <a:pt x="5132" y="3416"/>
                      </a:lnTo>
                      <a:cubicBezTo>
                        <a:pt x="5253" y="3268"/>
                        <a:pt x="5323" y="3038"/>
                        <a:pt x="5323" y="2689"/>
                      </a:cubicBezTo>
                      <a:cubicBezTo>
                        <a:pt x="5323" y="2286"/>
                        <a:pt x="5272" y="2001"/>
                        <a:pt x="5206" y="1809"/>
                      </a:cubicBezTo>
                      <a:lnTo>
                        <a:pt x="5640" y="1782"/>
                      </a:lnTo>
                      <a:cubicBezTo>
                        <a:pt x="5706" y="1777"/>
                        <a:pt x="5757" y="1723"/>
                        <a:pt x="5757" y="1657"/>
                      </a:cubicBezTo>
                      <a:lnTo>
                        <a:pt x="5757" y="1368"/>
                      </a:lnTo>
                      <a:cubicBezTo>
                        <a:pt x="5757" y="1300"/>
                        <a:pt x="5701" y="1244"/>
                        <a:pt x="5633" y="1244"/>
                      </a:cubicBezTo>
                      <a:close/>
                      <a:moveTo>
                        <a:pt x="1744" y="597"/>
                      </a:moveTo>
                      <a:cubicBezTo>
                        <a:pt x="1815" y="510"/>
                        <a:pt x="1921" y="460"/>
                        <a:pt x="2033" y="460"/>
                      </a:cubicBezTo>
                      <a:lnTo>
                        <a:pt x="3724" y="460"/>
                      </a:lnTo>
                      <a:cubicBezTo>
                        <a:pt x="3836" y="460"/>
                        <a:pt x="3942" y="510"/>
                        <a:pt x="4013" y="597"/>
                      </a:cubicBezTo>
                      <a:cubicBezTo>
                        <a:pt x="4219" y="849"/>
                        <a:pt x="4382" y="1090"/>
                        <a:pt x="4507" y="1330"/>
                      </a:cubicBezTo>
                      <a:lnTo>
                        <a:pt x="1247" y="1331"/>
                      </a:lnTo>
                      <a:cubicBezTo>
                        <a:pt x="1370" y="1096"/>
                        <a:pt x="1533" y="855"/>
                        <a:pt x="1744" y="597"/>
                      </a:cubicBezTo>
                      <a:close/>
                      <a:moveTo>
                        <a:pt x="1389" y="3161"/>
                      </a:moveTo>
                      <a:cubicBezTo>
                        <a:pt x="1150" y="3161"/>
                        <a:pt x="956" y="3082"/>
                        <a:pt x="956" y="2893"/>
                      </a:cubicBezTo>
                      <a:cubicBezTo>
                        <a:pt x="956" y="2704"/>
                        <a:pt x="1026" y="2550"/>
                        <a:pt x="1265" y="2550"/>
                      </a:cubicBezTo>
                      <a:cubicBezTo>
                        <a:pt x="1504" y="2550"/>
                        <a:pt x="1822" y="2704"/>
                        <a:pt x="1822" y="2893"/>
                      </a:cubicBezTo>
                      <a:cubicBezTo>
                        <a:pt x="1822" y="3082"/>
                        <a:pt x="1628" y="3161"/>
                        <a:pt x="1389" y="3161"/>
                      </a:cubicBezTo>
                      <a:close/>
                      <a:moveTo>
                        <a:pt x="3332" y="3121"/>
                      </a:moveTo>
                      <a:lnTo>
                        <a:pt x="2425" y="3121"/>
                      </a:lnTo>
                      <a:cubicBezTo>
                        <a:pt x="2288" y="3121"/>
                        <a:pt x="2177" y="3010"/>
                        <a:pt x="2177" y="2873"/>
                      </a:cubicBezTo>
                      <a:cubicBezTo>
                        <a:pt x="2177" y="2835"/>
                        <a:pt x="2208" y="2803"/>
                        <a:pt x="2246" y="2803"/>
                      </a:cubicBezTo>
                      <a:lnTo>
                        <a:pt x="3511" y="2803"/>
                      </a:lnTo>
                      <a:cubicBezTo>
                        <a:pt x="3549" y="2803"/>
                        <a:pt x="3581" y="2835"/>
                        <a:pt x="3581" y="2873"/>
                      </a:cubicBezTo>
                      <a:cubicBezTo>
                        <a:pt x="3581" y="3010"/>
                        <a:pt x="3469" y="3121"/>
                        <a:pt x="3332" y="3121"/>
                      </a:cubicBezTo>
                      <a:close/>
                      <a:moveTo>
                        <a:pt x="4368" y="3161"/>
                      </a:moveTo>
                      <a:cubicBezTo>
                        <a:pt x="4129" y="3161"/>
                        <a:pt x="3936" y="3082"/>
                        <a:pt x="3936" y="2893"/>
                      </a:cubicBezTo>
                      <a:cubicBezTo>
                        <a:pt x="3936" y="2704"/>
                        <a:pt x="4253" y="2550"/>
                        <a:pt x="4492" y="2550"/>
                      </a:cubicBezTo>
                      <a:cubicBezTo>
                        <a:pt x="4731" y="2550"/>
                        <a:pt x="4801" y="2704"/>
                        <a:pt x="4801" y="2893"/>
                      </a:cubicBezTo>
                      <a:cubicBezTo>
                        <a:pt x="4801" y="3082"/>
                        <a:pt x="4608" y="3161"/>
                        <a:pt x="4368" y="31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7" name="iŝľïďé">
                <a:extLst>
                  <a:ext uri="{FF2B5EF4-FFF2-40B4-BE49-F238E27FC236}">
                    <a16:creationId xmlns:a16="http://schemas.microsoft.com/office/drawing/2014/main" id="{3FED140B-D813-48DA-85E2-8F21E18313EB}"/>
                  </a:ext>
                </a:extLst>
              </p:cNvPr>
              <p:cNvGrpSpPr/>
              <p:nvPr/>
            </p:nvGrpSpPr>
            <p:grpSpPr>
              <a:xfrm>
                <a:off x="7142156" y="1301767"/>
                <a:ext cx="4499238" cy="1160502"/>
                <a:chOff x="1316991" y="1986688"/>
                <a:chExt cx="3604280" cy="1160502"/>
              </a:xfrm>
            </p:grpSpPr>
            <p:sp>
              <p:nvSpPr>
                <p:cNvPr id="38" name="îṩḻiḋé">
                  <a:extLst>
                    <a:ext uri="{FF2B5EF4-FFF2-40B4-BE49-F238E27FC236}">
                      <a16:creationId xmlns:a16="http://schemas.microsoft.com/office/drawing/2014/main" id="{ED1B06DE-8DA8-47D7-B3F3-D1CC5356E07B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简约的界面</a:t>
                  </a:r>
                </a:p>
              </p:txBody>
            </p:sp>
            <p:sp>
              <p:nvSpPr>
                <p:cNvPr id="39" name="íṧľíḓè">
                  <a:extLst>
                    <a:ext uri="{FF2B5EF4-FFF2-40B4-BE49-F238E27FC236}">
                      <a16:creationId xmlns:a16="http://schemas.microsoft.com/office/drawing/2014/main" id="{AA5FBA0E-A785-4074-9530-B42F8D937B62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604280" cy="7328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200" dirty="0"/>
                    <a:t>游戏的整体界面比较简洁不会扰乱用户的视线。炮台放置台和地图都使用较为基础的</a:t>
                  </a:r>
                  <a:r>
                    <a:rPr lang="en-US" altLang="zh-CN" sz="1200" dirty="0"/>
                    <a:t>cube</a:t>
                  </a:r>
                  <a:r>
                    <a:rPr lang="zh-CN" altLang="en-US" sz="1200" dirty="0"/>
                    <a:t>以及</a:t>
                  </a:r>
                  <a:r>
                    <a:rPr lang="en-US" altLang="zh-CN" sz="1200" dirty="0"/>
                    <a:t>plane</a:t>
                  </a:r>
                  <a:r>
                    <a:rPr lang="zh-CN" altLang="en-US" sz="1200" dirty="0"/>
                    <a:t>组件。</a:t>
                  </a:r>
                </a:p>
              </p:txBody>
            </p:sp>
          </p:grpSp>
        </p:grpSp>
        <p:grpSp>
          <p:nvGrpSpPr>
            <p:cNvPr id="29" name="ïs1íḋe">
              <a:extLst>
                <a:ext uri="{FF2B5EF4-FFF2-40B4-BE49-F238E27FC236}">
                  <a16:creationId xmlns:a16="http://schemas.microsoft.com/office/drawing/2014/main" id="{440AFB43-3607-4E60-8C39-9C37B49669DE}"/>
                </a:ext>
              </a:extLst>
            </p:cNvPr>
            <p:cNvGrpSpPr/>
            <p:nvPr/>
          </p:nvGrpSpPr>
          <p:grpSpPr>
            <a:xfrm>
              <a:off x="5898833" y="3243808"/>
              <a:ext cx="5621654" cy="1436347"/>
              <a:chOff x="5898833" y="2330990"/>
              <a:chExt cx="5621654" cy="1436347"/>
            </a:xfrm>
          </p:grpSpPr>
          <p:grpSp>
            <p:nvGrpSpPr>
              <p:cNvPr id="30" name="ïṩḷíḑè">
                <a:extLst>
                  <a:ext uri="{FF2B5EF4-FFF2-40B4-BE49-F238E27FC236}">
                    <a16:creationId xmlns:a16="http://schemas.microsoft.com/office/drawing/2014/main" id="{5F6A3172-FB44-49FA-803E-E87E272158D3}"/>
                  </a:ext>
                </a:extLst>
              </p:cNvPr>
              <p:cNvGrpSpPr/>
              <p:nvPr/>
            </p:nvGrpSpPr>
            <p:grpSpPr>
              <a:xfrm>
                <a:off x="5898833" y="2330990"/>
                <a:ext cx="1243328" cy="1193765"/>
                <a:chOff x="5898833" y="2330990"/>
                <a:chExt cx="1243328" cy="1193765"/>
              </a:xfrm>
            </p:grpSpPr>
            <p:sp>
              <p:nvSpPr>
                <p:cNvPr id="34" name="isliḋe">
                  <a:extLst>
                    <a:ext uri="{FF2B5EF4-FFF2-40B4-BE49-F238E27FC236}">
                      <a16:creationId xmlns:a16="http://schemas.microsoft.com/office/drawing/2014/main" id="{606BCFE3-F366-4963-91B2-6D068068101E}"/>
                    </a:ext>
                  </a:extLst>
                </p:cNvPr>
                <p:cNvSpPr/>
                <p:nvPr/>
              </p:nvSpPr>
              <p:spPr bwMode="auto">
                <a:xfrm>
                  <a:off x="5898833" y="2330990"/>
                  <a:ext cx="1243328" cy="1193765"/>
                </a:xfrm>
                <a:prstGeom prst="diamond">
                  <a:avLst/>
                </a:prstGeom>
                <a:solidFill>
                  <a:schemeClr val="accent3"/>
                </a:solidFill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35" name="íṥļíďe">
                  <a:extLst>
                    <a:ext uri="{FF2B5EF4-FFF2-40B4-BE49-F238E27FC236}">
                      <a16:creationId xmlns:a16="http://schemas.microsoft.com/office/drawing/2014/main" id="{D3D71CEF-AFA0-4EBF-A3E4-BDD4E88F611F}"/>
                    </a:ext>
                  </a:extLst>
                </p:cNvPr>
                <p:cNvSpPr/>
                <p:nvPr/>
              </p:nvSpPr>
              <p:spPr bwMode="auto">
                <a:xfrm>
                  <a:off x="6313748" y="2757018"/>
                  <a:ext cx="413499" cy="341708"/>
                </a:xfrm>
                <a:custGeom>
                  <a:avLst/>
                  <a:gdLst>
                    <a:gd name="T0" fmla="*/ 4165 w 4165"/>
                    <a:gd name="T1" fmla="*/ 1138 h 3447"/>
                    <a:gd name="T2" fmla="*/ 3540 w 4165"/>
                    <a:gd name="T3" fmla="*/ 1138 h 3447"/>
                    <a:gd name="T4" fmla="*/ 3509 w 4165"/>
                    <a:gd name="T5" fmla="*/ 1429 h 3447"/>
                    <a:gd name="T6" fmla="*/ 3373 w 4165"/>
                    <a:gd name="T7" fmla="*/ 801 h 3447"/>
                    <a:gd name="T8" fmla="*/ 2821 w 4165"/>
                    <a:gd name="T9" fmla="*/ 250 h 3447"/>
                    <a:gd name="T10" fmla="*/ 2587 w 4165"/>
                    <a:gd name="T11" fmla="*/ 250 h 3447"/>
                    <a:gd name="T12" fmla="*/ 2587 w 4165"/>
                    <a:gd name="T13" fmla="*/ 0 h 3447"/>
                    <a:gd name="T14" fmla="*/ 1561 w 4165"/>
                    <a:gd name="T15" fmla="*/ 0 h 3447"/>
                    <a:gd name="T16" fmla="*/ 1561 w 4165"/>
                    <a:gd name="T17" fmla="*/ 250 h 3447"/>
                    <a:gd name="T18" fmla="*/ 1368 w 4165"/>
                    <a:gd name="T19" fmla="*/ 250 h 3447"/>
                    <a:gd name="T20" fmla="*/ 817 w 4165"/>
                    <a:gd name="T21" fmla="*/ 795 h 3447"/>
                    <a:gd name="T22" fmla="*/ 656 w 4165"/>
                    <a:gd name="T23" fmla="*/ 1431 h 3447"/>
                    <a:gd name="T24" fmla="*/ 625 w 4165"/>
                    <a:gd name="T25" fmla="*/ 1138 h 3447"/>
                    <a:gd name="T26" fmla="*/ 0 w 4165"/>
                    <a:gd name="T27" fmla="*/ 1138 h 3447"/>
                    <a:gd name="T28" fmla="*/ 0 w 4165"/>
                    <a:gd name="T29" fmla="*/ 1483 h 3447"/>
                    <a:gd name="T30" fmla="*/ 545 w 4165"/>
                    <a:gd name="T31" fmla="*/ 1514 h 3447"/>
                    <a:gd name="T32" fmla="*/ 405 w 4165"/>
                    <a:gd name="T33" fmla="*/ 1822 h 3447"/>
                    <a:gd name="T34" fmla="*/ 405 w 4165"/>
                    <a:gd name="T35" fmla="*/ 2420 h 3447"/>
                    <a:gd name="T36" fmla="*/ 627 w 4165"/>
                    <a:gd name="T37" fmla="*/ 2788 h 3447"/>
                    <a:gd name="T38" fmla="*/ 627 w 4165"/>
                    <a:gd name="T39" fmla="*/ 3177 h 3447"/>
                    <a:gd name="T40" fmla="*/ 933 w 4165"/>
                    <a:gd name="T41" fmla="*/ 3447 h 3447"/>
                    <a:gd name="T42" fmla="*/ 1262 w 4165"/>
                    <a:gd name="T43" fmla="*/ 3177 h 3447"/>
                    <a:gd name="T44" fmla="*/ 1262 w 4165"/>
                    <a:gd name="T45" fmla="*/ 2869 h 3447"/>
                    <a:gd name="T46" fmla="*/ 2843 w 4165"/>
                    <a:gd name="T47" fmla="*/ 2869 h 3447"/>
                    <a:gd name="T48" fmla="*/ 2843 w 4165"/>
                    <a:gd name="T49" fmla="*/ 3177 h 3447"/>
                    <a:gd name="T50" fmla="*/ 3172 w 4165"/>
                    <a:gd name="T51" fmla="*/ 3447 h 3447"/>
                    <a:gd name="T52" fmla="*/ 3478 w 4165"/>
                    <a:gd name="T53" fmla="*/ 3177 h 3447"/>
                    <a:gd name="T54" fmla="*/ 3478 w 4165"/>
                    <a:gd name="T55" fmla="*/ 2869 h 3447"/>
                    <a:gd name="T56" fmla="*/ 3478 w 4165"/>
                    <a:gd name="T57" fmla="*/ 2822 h 3447"/>
                    <a:gd name="T58" fmla="*/ 3478 w 4165"/>
                    <a:gd name="T59" fmla="*/ 2819 h 3447"/>
                    <a:gd name="T60" fmla="*/ 3761 w 4165"/>
                    <a:gd name="T61" fmla="*/ 2420 h 3447"/>
                    <a:gd name="T62" fmla="*/ 3761 w 4165"/>
                    <a:gd name="T63" fmla="*/ 1822 h 3447"/>
                    <a:gd name="T64" fmla="*/ 3620 w 4165"/>
                    <a:gd name="T65" fmla="*/ 1514 h 3447"/>
                    <a:gd name="T66" fmla="*/ 4165 w 4165"/>
                    <a:gd name="T67" fmla="*/ 1483 h 3447"/>
                    <a:gd name="T68" fmla="*/ 4165 w 4165"/>
                    <a:gd name="T69" fmla="*/ 1138 h 3447"/>
                    <a:gd name="T70" fmla="*/ 1027 w 4165"/>
                    <a:gd name="T71" fmla="*/ 798 h 3447"/>
                    <a:gd name="T72" fmla="*/ 1367 w 4165"/>
                    <a:gd name="T73" fmla="*/ 461 h 3447"/>
                    <a:gd name="T74" fmla="*/ 2821 w 4165"/>
                    <a:gd name="T75" fmla="*/ 461 h 3447"/>
                    <a:gd name="T76" fmla="*/ 3162 w 4165"/>
                    <a:gd name="T77" fmla="*/ 801 h 3447"/>
                    <a:gd name="T78" fmla="*/ 3309 w 4165"/>
                    <a:gd name="T79" fmla="*/ 1426 h 3447"/>
                    <a:gd name="T80" fmla="*/ 3271 w 4165"/>
                    <a:gd name="T81" fmla="*/ 1424 h 3447"/>
                    <a:gd name="T82" fmla="*/ 3253 w 4165"/>
                    <a:gd name="T83" fmla="*/ 1423 h 3447"/>
                    <a:gd name="T84" fmla="*/ 913 w 4165"/>
                    <a:gd name="T85" fmla="*/ 1423 h 3447"/>
                    <a:gd name="T86" fmla="*/ 894 w 4165"/>
                    <a:gd name="T87" fmla="*/ 1424 h 3447"/>
                    <a:gd name="T88" fmla="*/ 854 w 4165"/>
                    <a:gd name="T89" fmla="*/ 1426 h 3447"/>
                    <a:gd name="T90" fmla="*/ 1027 w 4165"/>
                    <a:gd name="T91" fmla="*/ 798 h 3447"/>
                    <a:gd name="T92" fmla="*/ 1441 w 4165"/>
                    <a:gd name="T93" fmla="*/ 2398 h 3447"/>
                    <a:gd name="T94" fmla="*/ 757 w 4165"/>
                    <a:gd name="T95" fmla="*/ 2398 h 3447"/>
                    <a:gd name="T96" fmla="*/ 757 w 4165"/>
                    <a:gd name="T97" fmla="*/ 1888 h 3447"/>
                    <a:gd name="T98" fmla="*/ 1441 w 4165"/>
                    <a:gd name="T99" fmla="*/ 1888 h 3447"/>
                    <a:gd name="T100" fmla="*/ 1441 w 4165"/>
                    <a:gd name="T101" fmla="*/ 2398 h 3447"/>
                    <a:gd name="T102" fmla="*/ 2675 w 4165"/>
                    <a:gd name="T103" fmla="*/ 2208 h 3447"/>
                    <a:gd name="T104" fmla="*/ 1584 w 4165"/>
                    <a:gd name="T105" fmla="*/ 2208 h 3447"/>
                    <a:gd name="T106" fmla="*/ 1584 w 4165"/>
                    <a:gd name="T107" fmla="*/ 2068 h 3447"/>
                    <a:gd name="T108" fmla="*/ 2675 w 4165"/>
                    <a:gd name="T109" fmla="*/ 2068 h 3447"/>
                    <a:gd name="T110" fmla="*/ 2675 w 4165"/>
                    <a:gd name="T111" fmla="*/ 2208 h 3447"/>
                    <a:gd name="T112" fmla="*/ 2675 w 4165"/>
                    <a:gd name="T113" fmla="*/ 2208 h 3447"/>
                    <a:gd name="T114" fmla="*/ 3497 w 4165"/>
                    <a:gd name="T115" fmla="*/ 2398 h 3447"/>
                    <a:gd name="T116" fmla="*/ 2812 w 4165"/>
                    <a:gd name="T117" fmla="*/ 2398 h 3447"/>
                    <a:gd name="T118" fmla="*/ 2812 w 4165"/>
                    <a:gd name="T119" fmla="*/ 1888 h 3447"/>
                    <a:gd name="T120" fmla="*/ 3497 w 4165"/>
                    <a:gd name="T121" fmla="*/ 1888 h 3447"/>
                    <a:gd name="T122" fmla="*/ 3497 w 4165"/>
                    <a:gd name="T123" fmla="*/ 2398 h 34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165" h="3447">
                      <a:moveTo>
                        <a:pt x="4165" y="1138"/>
                      </a:moveTo>
                      <a:lnTo>
                        <a:pt x="3540" y="1138"/>
                      </a:lnTo>
                      <a:lnTo>
                        <a:pt x="3509" y="1429"/>
                      </a:lnTo>
                      <a:lnTo>
                        <a:pt x="3373" y="801"/>
                      </a:lnTo>
                      <a:cubicBezTo>
                        <a:pt x="3373" y="497"/>
                        <a:pt x="3125" y="250"/>
                        <a:pt x="2821" y="250"/>
                      </a:cubicBezTo>
                      <a:lnTo>
                        <a:pt x="2587" y="250"/>
                      </a:lnTo>
                      <a:lnTo>
                        <a:pt x="2587" y="0"/>
                      </a:lnTo>
                      <a:lnTo>
                        <a:pt x="1561" y="0"/>
                      </a:lnTo>
                      <a:lnTo>
                        <a:pt x="1561" y="250"/>
                      </a:lnTo>
                      <a:lnTo>
                        <a:pt x="1368" y="250"/>
                      </a:lnTo>
                      <a:cubicBezTo>
                        <a:pt x="1063" y="250"/>
                        <a:pt x="816" y="497"/>
                        <a:pt x="817" y="795"/>
                      </a:cubicBezTo>
                      <a:lnTo>
                        <a:pt x="656" y="1431"/>
                      </a:lnTo>
                      <a:lnTo>
                        <a:pt x="625" y="1138"/>
                      </a:lnTo>
                      <a:lnTo>
                        <a:pt x="0" y="1138"/>
                      </a:lnTo>
                      <a:lnTo>
                        <a:pt x="0" y="1483"/>
                      </a:lnTo>
                      <a:lnTo>
                        <a:pt x="545" y="1514"/>
                      </a:lnTo>
                      <a:cubicBezTo>
                        <a:pt x="455" y="1597"/>
                        <a:pt x="405" y="1706"/>
                        <a:pt x="405" y="1822"/>
                      </a:cubicBezTo>
                      <a:lnTo>
                        <a:pt x="405" y="2420"/>
                      </a:lnTo>
                      <a:cubicBezTo>
                        <a:pt x="405" y="2568"/>
                        <a:pt x="488" y="2705"/>
                        <a:pt x="627" y="2788"/>
                      </a:cubicBezTo>
                      <a:lnTo>
                        <a:pt x="627" y="3177"/>
                      </a:lnTo>
                      <a:cubicBezTo>
                        <a:pt x="627" y="3307"/>
                        <a:pt x="707" y="3447"/>
                        <a:pt x="933" y="3447"/>
                      </a:cubicBezTo>
                      <a:cubicBezTo>
                        <a:pt x="1127" y="3447"/>
                        <a:pt x="1262" y="3336"/>
                        <a:pt x="1262" y="3177"/>
                      </a:cubicBezTo>
                      <a:lnTo>
                        <a:pt x="1262" y="2869"/>
                      </a:lnTo>
                      <a:lnTo>
                        <a:pt x="2843" y="2869"/>
                      </a:lnTo>
                      <a:lnTo>
                        <a:pt x="2843" y="3177"/>
                      </a:lnTo>
                      <a:cubicBezTo>
                        <a:pt x="2843" y="3336"/>
                        <a:pt x="2978" y="3447"/>
                        <a:pt x="3172" y="3447"/>
                      </a:cubicBezTo>
                      <a:cubicBezTo>
                        <a:pt x="3398" y="3447"/>
                        <a:pt x="3478" y="3307"/>
                        <a:pt x="3478" y="3177"/>
                      </a:cubicBezTo>
                      <a:lnTo>
                        <a:pt x="3478" y="2869"/>
                      </a:lnTo>
                      <a:lnTo>
                        <a:pt x="3478" y="2822"/>
                      </a:lnTo>
                      <a:lnTo>
                        <a:pt x="3478" y="2819"/>
                      </a:lnTo>
                      <a:cubicBezTo>
                        <a:pt x="3650" y="2745"/>
                        <a:pt x="3761" y="2589"/>
                        <a:pt x="3761" y="2420"/>
                      </a:cubicBezTo>
                      <a:lnTo>
                        <a:pt x="3761" y="1822"/>
                      </a:lnTo>
                      <a:cubicBezTo>
                        <a:pt x="3761" y="1706"/>
                        <a:pt x="3710" y="1597"/>
                        <a:pt x="3620" y="1514"/>
                      </a:cubicBezTo>
                      <a:lnTo>
                        <a:pt x="4165" y="1483"/>
                      </a:lnTo>
                      <a:lnTo>
                        <a:pt x="4165" y="1138"/>
                      </a:lnTo>
                      <a:close/>
                      <a:moveTo>
                        <a:pt x="1027" y="798"/>
                      </a:moveTo>
                      <a:cubicBezTo>
                        <a:pt x="1029" y="612"/>
                        <a:pt x="1181" y="461"/>
                        <a:pt x="1367" y="461"/>
                      </a:cubicBezTo>
                      <a:lnTo>
                        <a:pt x="2821" y="461"/>
                      </a:lnTo>
                      <a:cubicBezTo>
                        <a:pt x="3009" y="461"/>
                        <a:pt x="3162" y="614"/>
                        <a:pt x="3162" y="801"/>
                      </a:cubicBezTo>
                      <a:lnTo>
                        <a:pt x="3309" y="1426"/>
                      </a:lnTo>
                      <a:lnTo>
                        <a:pt x="3271" y="1424"/>
                      </a:lnTo>
                      <a:cubicBezTo>
                        <a:pt x="3265" y="1424"/>
                        <a:pt x="3259" y="1423"/>
                        <a:pt x="3253" y="1423"/>
                      </a:cubicBezTo>
                      <a:lnTo>
                        <a:pt x="913" y="1423"/>
                      </a:lnTo>
                      <a:cubicBezTo>
                        <a:pt x="906" y="1423"/>
                        <a:pt x="900" y="1424"/>
                        <a:pt x="894" y="1424"/>
                      </a:cubicBezTo>
                      <a:lnTo>
                        <a:pt x="854" y="1426"/>
                      </a:lnTo>
                      <a:lnTo>
                        <a:pt x="1027" y="798"/>
                      </a:lnTo>
                      <a:close/>
                      <a:moveTo>
                        <a:pt x="1441" y="2398"/>
                      </a:moveTo>
                      <a:lnTo>
                        <a:pt x="757" y="2398"/>
                      </a:lnTo>
                      <a:lnTo>
                        <a:pt x="757" y="1888"/>
                      </a:lnTo>
                      <a:lnTo>
                        <a:pt x="1441" y="1888"/>
                      </a:lnTo>
                      <a:lnTo>
                        <a:pt x="1441" y="2398"/>
                      </a:lnTo>
                      <a:close/>
                      <a:moveTo>
                        <a:pt x="2675" y="2208"/>
                      </a:moveTo>
                      <a:lnTo>
                        <a:pt x="1584" y="2208"/>
                      </a:lnTo>
                      <a:lnTo>
                        <a:pt x="1584" y="2068"/>
                      </a:lnTo>
                      <a:lnTo>
                        <a:pt x="2675" y="2068"/>
                      </a:lnTo>
                      <a:lnTo>
                        <a:pt x="2675" y="2208"/>
                      </a:lnTo>
                      <a:lnTo>
                        <a:pt x="2675" y="2208"/>
                      </a:lnTo>
                      <a:close/>
                      <a:moveTo>
                        <a:pt x="3497" y="2398"/>
                      </a:moveTo>
                      <a:lnTo>
                        <a:pt x="2812" y="2398"/>
                      </a:lnTo>
                      <a:lnTo>
                        <a:pt x="2812" y="1888"/>
                      </a:lnTo>
                      <a:lnTo>
                        <a:pt x="3497" y="1888"/>
                      </a:lnTo>
                      <a:lnTo>
                        <a:pt x="3497" y="239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/>
                  <a:ext uri="{AF507438-7753-43e0-B8FC-AC1667EBCBE1}"/>
                </a:extLst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1" name="iṣlíḓè">
                <a:extLst>
                  <a:ext uri="{FF2B5EF4-FFF2-40B4-BE49-F238E27FC236}">
                    <a16:creationId xmlns:a16="http://schemas.microsoft.com/office/drawing/2014/main" id="{ADBF8C88-F844-4367-BD82-9C6580456FEE}"/>
                  </a:ext>
                </a:extLst>
              </p:cNvPr>
              <p:cNvGrpSpPr/>
              <p:nvPr/>
            </p:nvGrpSpPr>
            <p:grpSpPr>
              <a:xfrm>
                <a:off x="7142156" y="2488029"/>
                <a:ext cx="4378331" cy="1279308"/>
                <a:chOff x="1316991" y="1986688"/>
                <a:chExt cx="3507423" cy="1279308"/>
              </a:xfrm>
            </p:grpSpPr>
            <p:sp>
              <p:nvSpPr>
                <p:cNvPr id="32" name="ïṥḷîḓe">
                  <a:extLst>
                    <a:ext uri="{FF2B5EF4-FFF2-40B4-BE49-F238E27FC236}">
                      <a16:creationId xmlns:a16="http://schemas.microsoft.com/office/drawing/2014/main" id="{946B4E39-AA91-4770-83D7-6EA4AB66E7E0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1986688"/>
                  <a:ext cx="3507423" cy="427605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b="1" dirty="0"/>
                    <a:t>细腻的炮台、人物模型</a:t>
                  </a:r>
                </a:p>
              </p:txBody>
            </p:sp>
            <p:sp>
              <p:nvSpPr>
                <p:cNvPr id="33" name="iṣḷiḓê">
                  <a:extLst>
                    <a:ext uri="{FF2B5EF4-FFF2-40B4-BE49-F238E27FC236}">
                      <a16:creationId xmlns:a16="http://schemas.microsoft.com/office/drawing/2014/main" id="{B336F2F9-839C-49C5-B63F-F21B9E83510E}"/>
                    </a:ext>
                  </a:extLst>
                </p:cNvPr>
                <p:cNvSpPr txBox="1"/>
                <p:nvPr/>
              </p:nvSpPr>
              <p:spPr bwMode="auto">
                <a:xfrm>
                  <a:off x="1316991" y="2414294"/>
                  <a:ext cx="3507423" cy="8517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200" dirty="0"/>
                    <a:t>在炮台方面因为考虑到用户对较为抽象的攻击炮台不会较为喜爱，所以我们的设计就较为精致</a:t>
                  </a:r>
                  <a:endParaRPr lang="en-US" altLang="zh-CN" sz="1200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1143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accent1"/>
                </a:solidFill>
              </a:rPr>
              <a:t>游戏玩法设计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425062" y="2275116"/>
            <a:ext cx="1493016" cy="129812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752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E00A08-F775-497E-B98B-ADDF95A2D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始游戏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E16266C-2DAB-B5F1-F6A8-1C0D3376BF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910" y="1860796"/>
            <a:ext cx="5273675" cy="3274060"/>
          </a:xfrm>
          <a:prstGeom prst="rect">
            <a:avLst/>
          </a:prstGeom>
        </p:spPr>
      </p:pic>
      <p:grpSp>
        <p:nvGrpSpPr>
          <p:cNvPr id="26" name="组合 25">
            <a:extLst>
              <a:ext uri="{FF2B5EF4-FFF2-40B4-BE49-F238E27FC236}">
                <a16:creationId xmlns:a16="http://schemas.microsoft.com/office/drawing/2014/main" id="{63A53DA4-5DFB-3180-AC0A-087A29AA3E4A}"/>
              </a:ext>
            </a:extLst>
          </p:cNvPr>
          <p:cNvGrpSpPr/>
          <p:nvPr/>
        </p:nvGrpSpPr>
        <p:grpSpPr>
          <a:xfrm>
            <a:off x="7806196" y="1768082"/>
            <a:ext cx="3714291" cy="813516"/>
            <a:chOff x="1045238" y="1710268"/>
            <a:chExt cx="4565148" cy="956413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8F7356B3-6C49-9519-5907-7DE15F8FEF47}"/>
                </a:ext>
              </a:extLst>
            </p:cNvPr>
            <p:cNvSpPr/>
            <p:nvPr/>
          </p:nvSpPr>
          <p:spPr>
            <a:xfrm>
              <a:off x="1045238" y="2125439"/>
              <a:ext cx="4565148" cy="5412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kumimoji="0" lang="zh-CN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进入游戏看到初始化界面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28" name="TextBox 7">
              <a:extLst>
                <a:ext uri="{FF2B5EF4-FFF2-40B4-BE49-F238E27FC236}">
                  <a16:creationId xmlns:a16="http://schemas.microsoft.com/office/drawing/2014/main" id="{EFAE1C12-29AD-B4CF-564B-D153122A3F02}"/>
                </a:ext>
              </a:extLst>
            </p:cNvPr>
            <p:cNvSpPr txBox="1"/>
            <p:nvPr/>
          </p:nvSpPr>
          <p:spPr>
            <a:xfrm>
              <a:off x="1045238" y="1710268"/>
              <a:ext cx="3008043" cy="47553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游戏初始界面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C6B224C6-F0AD-D650-8498-EEB03E4C08EF}"/>
              </a:ext>
            </a:extLst>
          </p:cNvPr>
          <p:cNvGrpSpPr/>
          <p:nvPr/>
        </p:nvGrpSpPr>
        <p:grpSpPr>
          <a:xfrm>
            <a:off x="7750551" y="3284403"/>
            <a:ext cx="3714291" cy="694864"/>
            <a:chOff x="1077909" y="3322893"/>
            <a:chExt cx="4811447" cy="907085"/>
          </a:xfrm>
        </p:grpSpPr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C8FE08CA-6229-36A7-7853-DF355441D778}"/>
                </a:ext>
              </a:extLst>
            </p:cNvPr>
            <p:cNvGrpSpPr/>
            <p:nvPr/>
          </p:nvGrpSpPr>
          <p:grpSpPr>
            <a:xfrm>
              <a:off x="1077909" y="3433654"/>
              <a:ext cx="723775" cy="723775"/>
              <a:chOff x="357345" y="4485971"/>
              <a:chExt cx="723775" cy="723775"/>
            </a:xfrm>
          </p:grpSpPr>
          <p:sp>
            <p:nvSpPr>
              <p:cNvPr id="33" name="Oval 25">
                <a:extLst>
                  <a:ext uri="{FF2B5EF4-FFF2-40B4-BE49-F238E27FC236}">
                    <a16:creationId xmlns:a16="http://schemas.microsoft.com/office/drawing/2014/main" id="{11463715-755A-788E-4E2E-1C23BD1D0270}"/>
                  </a:ext>
                </a:extLst>
              </p:cNvPr>
              <p:cNvSpPr/>
              <p:nvPr/>
            </p:nvSpPr>
            <p:spPr>
              <a:xfrm>
                <a:off x="357345" y="4485971"/>
                <a:ext cx="723775" cy="723775"/>
              </a:xfrm>
              <a:prstGeom prst="ellipse">
                <a:avLst/>
              </a:prstGeom>
              <a:solidFill>
                <a:srgbClr val="F4BD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34" name="Group 21">
                <a:extLst>
                  <a:ext uri="{FF2B5EF4-FFF2-40B4-BE49-F238E27FC236}">
                    <a16:creationId xmlns:a16="http://schemas.microsoft.com/office/drawing/2014/main" id="{EF01E9D9-3FBF-DE54-31E1-4D65BB792A4A}"/>
                  </a:ext>
                </a:extLst>
              </p:cNvPr>
              <p:cNvGrpSpPr/>
              <p:nvPr/>
            </p:nvGrpSpPr>
            <p:grpSpPr>
              <a:xfrm>
                <a:off x="490632" y="4619258"/>
                <a:ext cx="457200" cy="457200"/>
                <a:chOff x="4563268" y="2753915"/>
                <a:chExt cx="457200" cy="457200"/>
              </a:xfrm>
              <a:solidFill>
                <a:schemeClr val="bg1"/>
              </a:solidFill>
            </p:grpSpPr>
            <p:sp>
              <p:nvSpPr>
                <p:cNvPr id="35" name="Freeform 124">
                  <a:extLst>
                    <a:ext uri="{FF2B5EF4-FFF2-40B4-BE49-F238E27FC236}">
                      <a16:creationId xmlns:a16="http://schemas.microsoft.com/office/drawing/2014/main" id="{B34DDC6A-B541-C541-426D-12402EE8DE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63268" y="2753915"/>
                  <a:ext cx="457200" cy="457200"/>
                </a:xfrm>
                <a:custGeom>
                  <a:avLst/>
                  <a:gdLst>
                    <a:gd name="T0" fmla="*/ 924 w 1152"/>
                    <a:gd name="T1" fmla="*/ 677 h 1152"/>
                    <a:gd name="T2" fmla="*/ 896 w 1152"/>
                    <a:gd name="T3" fmla="*/ 742 h 1152"/>
                    <a:gd name="T4" fmla="*/ 905 w 1152"/>
                    <a:gd name="T5" fmla="*/ 804 h 1152"/>
                    <a:gd name="T6" fmla="*/ 765 w 1152"/>
                    <a:gd name="T7" fmla="*/ 893 h 1152"/>
                    <a:gd name="T8" fmla="*/ 704 w 1152"/>
                    <a:gd name="T9" fmla="*/ 912 h 1152"/>
                    <a:gd name="T10" fmla="*/ 653 w 1152"/>
                    <a:gd name="T11" fmla="*/ 952 h 1152"/>
                    <a:gd name="T12" fmla="*/ 499 w 1152"/>
                    <a:gd name="T13" fmla="*/ 952 h 1152"/>
                    <a:gd name="T14" fmla="*/ 448 w 1152"/>
                    <a:gd name="T15" fmla="*/ 912 h 1152"/>
                    <a:gd name="T16" fmla="*/ 388 w 1152"/>
                    <a:gd name="T17" fmla="*/ 893 h 1152"/>
                    <a:gd name="T18" fmla="*/ 247 w 1152"/>
                    <a:gd name="T19" fmla="*/ 804 h 1152"/>
                    <a:gd name="T20" fmla="*/ 256 w 1152"/>
                    <a:gd name="T21" fmla="*/ 742 h 1152"/>
                    <a:gd name="T22" fmla="*/ 228 w 1152"/>
                    <a:gd name="T23" fmla="*/ 677 h 1152"/>
                    <a:gd name="T24" fmla="*/ 72 w 1152"/>
                    <a:gd name="T25" fmla="*/ 625 h 1152"/>
                    <a:gd name="T26" fmla="*/ 222 w 1152"/>
                    <a:gd name="T27" fmla="*/ 482 h 1152"/>
                    <a:gd name="T28" fmla="*/ 253 w 1152"/>
                    <a:gd name="T29" fmla="*/ 420 h 1152"/>
                    <a:gd name="T30" fmla="*/ 253 w 1152"/>
                    <a:gd name="T31" fmla="*/ 356 h 1152"/>
                    <a:gd name="T32" fmla="*/ 378 w 1152"/>
                    <a:gd name="T33" fmla="*/ 259 h 1152"/>
                    <a:gd name="T34" fmla="*/ 438 w 1152"/>
                    <a:gd name="T35" fmla="*/ 244 h 1152"/>
                    <a:gd name="T36" fmla="*/ 495 w 1152"/>
                    <a:gd name="T37" fmla="*/ 208 h 1152"/>
                    <a:gd name="T38" fmla="*/ 649 w 1152"/>
                    <a:gd name="T39" fmla="*/ 192 h 1152"/>
                    <a:gd name="T40" fmla="*/ 694 w 1152"/>
                    <a:gd name="T41" fmla="*/ 236 h 1152"/>
                    <a:gd name="T42" fmla="*/ 756 w 1152"/>
                    <a:gd name="T43" fmla="*/ 259 h 1152"/>
                    <a:gd name="T44" fmla="*/ 967 w 1152"/>
                    <a:gd name="T45" fmla="*/ 255 h 1152"/>
                    <a:gd name="T46" fmla="*/ 894 w 1152"/>
                    <a:gd name="T47" fmla="*/ 401 h 1152"/>
                    <a:gd name="T48" fmla="*/ 919 w 1152"/>
                    <a:gd name="T49" fmla="*/ 466 h 1152"/>
                    <a:gd name="T50" fmla="*/ 970 w 1152"/>
                    <a:gd name="T51" fmla="*/ 505 h 1152"/>
                    <a:gd name="T52" fmla="*/ 975 w 1152"/>
                    <a:gd name="T53" fmla="*/ 411 h 1152"/>
                    <a:gd name="T54" fmla="*/ 1037 w 1152"/>
                    <a:gd name="T55" fmla="*/ 272 h 1152"/>
                    <a:gd name="T56" fmla="*/ 1023 w 1152"/>
                    <a:gd name="T57" fmla="*/ 208 h 1152"/>
                    <a:gd name="T58" fmla="*/ 918 w 1152"/>
                    <a:gd name="T59" fmla="*/ 116 h 1152"/>
                    <a:gd name="T60" fmla="*/ 857 w 1152"/>
                    <a:gd name="T61" fmla="*/ 125 h 1152"/>
                    <a:gd name="T62" fmla="*/ 694 w 1152"/>
                    <a:gd name="T63" fmla="*/ 51 h 1152"/>
                    <a:gd name="T64" fmla="*/ 649 w 1152"/>
                    <a:gd name="T65" fmla="*/ 4 h 1152"/>
                    <a:gd name="T66" fmla="*/ 514 w 1152"/>
                    <a:gd name="T67" fmla="*/ 1 h 1152"/>
                    <a:gd name="T68" fmla="*/ 462 w 1152"/>
                    <a:gd name="T69" fmla="*/ 40 h 1152"/>
                    <a:gd name="T70" fmla="*/ 400 w 1152"/>
                    <a:gd name="T71" fmla="*/ 182 h 1152"/>
                    <a:gd name="T72" fmla="*/ 247 w 1152"/>
                    <a:gd name="T73" fmla="*/ 113 h 1152"/>
                    <a:gd name="T74" fmla="*/ 203 w 1152"/>
                    <a:gd name="T75" fmla="*/ 134 h 1152"/>
                    <a:gd name="T76" fmla="*/ 113 w 1152"/>
                    <a:gd name="T77" fmla="*/ 247 h 1152"/>
                    <a:gd name="T78" fmla="*/ 188 w 1152"/>
                    <a:gd name="T79" fmla="*/ 387 h 1152"/>
                    <a:gd name="T80" fmla="*/ 45 w 1152"/>
                    <a:gd name="T81" fmla="*/ 460 h 1152"/>
                    <a:gd name="T82" fmla="*/ 2 w 1152"/>
                    <a:gd name="T83" fmla="*/ 508 h 1152"/>
                    <a:gd name="T84" fmla="*/ 2 w 1152"/>
                    <a:gd name="T85" fmla="*/ 643 h 1152"/>
                    <a:gd name="T86" fmla="*/ 45 w 1152"/>
                    <a:gd name="T87" fmla="*/ 692 h 1152"/>
                    <a:gd name="T88" fmla="*/ 188 w 1152"/>
                    <a:gd name="T89" fmla="*/ 764 h 1152"/>
                    <a:gd name="T90" fmla="*/ 113 w 1152"/>
                    <a:gd name="T91" fmla="*/ 905 h 1152"/>
                    <a:gd name="T92" fmla="*/ 203 w 1152"/>
                    <a:gd name="T93" fmla="*/ 1018 h 1152"/>
                    <a:gd name="T94" fmla="*/ 247 w 1152"/>
                    <a:gd name="T95" fmla="*/ 1039 h 1152"/>
                    <a:gd name="T96" fmla="*/ 400 w 1152"/>
                    <a:gd name="T97" fmla="*/ 969 h 1152"/>
                    <a:gd name="T98" fmla="*/ 462 w 1152"/>
                    <a:gd name="T99" fmla="*/ 1112 h 1152"/>
                    <a:gd name="T100" fmla="*/ 514 w 1152"/>
                    <a:gd name="T101" fmla="*/ 1151 h 1152"/>
                    <a:gd name="T102" fmla="*/ 649 w 1152"/>
                    <a:gd name="T103" fmla="*/ 1148 h 1152"/>
                    <a:gd name="T104" fmla="*/ 694 w 1152"/>
                    <a:gd name="T105" fmla="*/ 1100 h 1152"/>
                    <a:gd name="T106" fmla="*/ 857 w 1152"/>
                    <a:gd name="T107" fmla="*/ 1027 h 1152"/>
                    <a:gd name="T108" fmla="*/ 918 w 1152"/>
                    <a:gd name="T109" fmla="*/ 1036 h 1152"/>
                    <a:gd name="T110" fmla="*/ 1023 w 1152"/>
                    <a:gd name="T111" fmla="*/ 944 h 1152"/>
                    <a:gd name="T112" fmla="*/ 1037 w 1152"/>
                    <a:gd name="T113" fmla="*/ 881 h 1152"/>
                    <a:gd name="T114" fmla="*/ 975 w 1152"/>
                    <a:gd name="T115" fmla="*/ 742 h 1152"/>
                    <a:gd name="T116" fmla="*/ 1118 w 1152"/>
                    <a:gd name="T117" fmla="*/ 687 h 1152"/>
                    <a:gd name="T118" fmla="*/ 1151 w 1152"/>
                    <a:gd name="T119" fmla="*/ 631 h 1152"/>
                    <a:gd name="T120" fmla="*/ 1143 w 1152"/>
                    <a:gd name="T121" fmla="*/ 491 h 1152"/>
                    <a:gd name="T122" fmla="*/ 1094 w 1152"/>
                    <a:gd name="T123" fmla="*/ 456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152">
                      <a:moveTo>
                        <a:pt x="970" y="647"/>
                      </a:moveTo>
                      <a:lnTo>
                        <a:pt x="960" y="650"/>
                      </a:lnTo>
                      <a:lnTo>
                        <a:pt x="951" y="653"/>
                      </a:lnTo>
                      <a:lnTo>
                        <a:pt x="944" y="657"/>
                      </a:lnTo>
                      <a:lnTo>
                        <a:pt x="936" y="664"/>
                      </a:lnTo>
                      <a:lnTo>
                        <a:pt x="930" y="670"/>
                      </a:lnTo>
                      <a:lnTo>
                        <a:pt x="924" y="677"/>
                      </a:lnTo>
                      <a:lnTo>
                        <a:pt x="919" y="685"/>
                      </a:lnTo>
                      <a:lnTo>
                        <a:pt x="916" y="694"/>
                      </a:lnTo>
                      <a:lnTo>
                        <a:pt x="913" y="704"/>
                      </a:lnTo>
                      <a:lnTo>
                        <a:pt x="908" y="714"/>
                      </a:lnTo>
                      <a:lnTo>
                        <a:pt x="904" y="723"/>
                      </a:lnTo>
                      <a:lnTo>
                        <a:pt x="900" y="733"/>
                      </a:lnTo>
                      <a:lnTo>
                        <a:pt x="896" y="742"/>
                      </a:lnTo>
                      <a:lnTo>
                        <a:pt x="894" y="750"/>
                      </a:lnTo>
                      <a:lnTo>
                        <a:pt x="893" y="760"/>
                      </a:lnTo>
                      <a:lnTo>
                        <a:pt x="893" y="769"/>
                      </a:lnTo>
                      <a:lnTo>
                        <a:pt x="894" y="778"/>
                      </a:lnTo>
                      <a:lnTo>
                        <a:pt x="896" y="787"/>
                      </a:lnTo>
                      <a:lnTo>
                        <a:pt x="900" y="796"/>
                      </a:lnTo>
                      <a:lnTo>
                        <a:pt x="905" y="804"/>
                      </a:lnTo>
                      <a:lnTo>
                        <a:pt x="967" y="898"/>
                      </a:lnTo>
                      <a:lnTo>
                        <a:pt x="897" y="967"/>
                      </a:lnTo>
                      <a:lnTo>
                        <a:pt x="805" y="905"/>
                      </a:lnTo>
                      <a:lnTo>
                        <a:pt x="795" y="899"/>
                      </a:lnTo>
                      <a:lnTo>
                        <a:pt x="785" y="895"/>
                      </a:lnTo>
                      <a:lnTo>
                        <a:pt x="774" y="893"/>
                      </a:lnTo>
                      <a:lnTo>
                        <a:pt x="765" y="893"/>
                      </a:lnTo>
                      <a:lnTo>
                        <a:pt x="756" y="893"/>
                      </a:lnTo>
                      <a:lnTo>
                        <a:pt x="748" y="894"/>
                      </a:lnTo>
                      <a:lnTo>
                        <a:pt x="741" y="896"/>
                      </a:lnTo>
                      <a:lnTo>
                        <a:pt x="733" y="899"/>
                      </a:lnTo>
                      <a:lnTo>
                        <a:pt x="724" y="904"/>
                      </a:lnTo>
                      <a:lnTo>
                        <a:pt x="714" y="908"/>
                      </a:lnTo>
                      <a:lnTo>
                        <a:pt x="704" y="912"/>
                      </a:lnTo>
                      <a:lnTo>
                        <a:pt x="694" y="915"/>
                      </a:lnTo>
                      <a:lnTo>
                        <a:pt x="686" y="920"/>
                      </a:lnTo>
                      <a:lnTo>
                        <a:pt x="677" y="924"/>
                      </a:lnTo>
                      <a:lnTo>
                        <a:pt x="670" y="930"/>
                      </a:lnTo>
                      <a:lnTo>
                        <a:pt x="663" y="936"/>
                      </a:lnTo>
                      <a:lnTo>
                        <a:pt x="658" y="944"/>
                      </a:lnTo>
                      <a:lnTo>
                        <a:pt x="653" y="952"/>
                      </a:lnTo>
                      <a:lnTo>
                        <a:pt x="650" y="961"/>
                      </a:lnTo>
                      <a:lnTo>
                        <a:pt x="647" y="969"/>
                      </a:lnTo>
                      <a:lnTo>
                        <a:pt x="625" y="1080"/>
                      </a:lnTo>
                      <a:lnTo>
                        <a:pt x="527" y="1080"/>
                      </a:lnTo>
                      <a:lnTo>
                        <a:pt x="505" y="969"/>
                      </a:lnTo>
                      <a:lnTo>
                        <a:pt x="502" y="961"/>
                      </a:lnTo>
                      <a:lnTo>
                        <a:pt x="499" y="952"/>
                      </a:lnTo>
                      <a:lnTo>
                        <a:pt x="495" y="944"/>
                      </a:lnTo>
                      <a:lnTo>
                        <a:pt x="489" y="936"/>
                      </a:lnTo>
                      <a:lnTo>
                        <a:pt x="483" y="930"/>
                      </a:lnTo>
                      <a:lnTo>
                        <a:pt x="475" y="924"/>
                      </a:lnTo>
                      <a:lnTo>
                        <a:pt x="466" y="920"/>
                      </a:lnTo>
                      <a:lnTo>
                        <a:pt x="458" y="915"/>
                      </a:lnTo>
                      <a:lnTo>
                        <a:pt x="448" y="912"/>
                      </a:lnTo>
                      <a:lnTo>
                        <a:pt x="438" y="908"/>
                      </a:lnTo>
                      <a:lnTo>
                        <a:pt x="429" y="904"/>
                      </a:lnTo>
                      <a:lnTo>
                        <a:pt x="419" y="899"/>
                      </a:lnTo>
                      <a:lnTo>
                        <a:pt x="411" y="896"/>
                      </a:lnTo>
                      <a:lnTo>
                        <a:pt x="404" y="894"/>
                      </a:lnTo>
                      <a:lnTo>
                        <a:pt x="396" y="893"/>
                      </a:lnTo>
                      <a:lnTo>
                        <a:pt x="388" y="893"/>
                      </a:lnTo>
                      <a:lnTo>
                        <a:pt x="378" y="893"/>
                      </a:lnTo>
                      <a:lnTo>
                        <a:pt x="367" y="895"/>
                      </a:lnTo>
                      <a:lnTo>
                        <a:pt x="357" y="899"/>
                      </a:lnTo>
                      <a:lnTo>
                        <a:pt x="348" y="905"/>
                      </a:lnTo>
                      <a:lnTo>
                        <a:pt x="255" y="967"/>
                      </a:lnTo>
                      <a:lnTo>
                        <a:pt x="185" y="898"/>
                      </a:lnTo>
                      <a:lnTo>
                        <a:pt x="247" y="804"/>
                      </a:lnTo>
                      <a:lnTo>
                        <a:pt x="253" y="796"/>
                      </a:lnTo>
                      <a:lnTo>
                        <a:pt x="256" y="787"/>
                      </a:lnTo>
                      <a:lnTo>
                        <a:pt x="258" y="778"/>
                      </a:lnTo>
                      <a:lnTo>
                        <a:pt x="259" y="769"/>
                      </a:lnTo>
                      <a:lnTo>
                        <a:pt x="259" y="760"/>
                      </a:lnTo>
                      <a:lnTo>
                        <a:pt x="258" y="750"/>
                      </a:lnTo>
                      <a:lnTo>
                        <a:pt x="256" y="742"/>
                      </a:lnTo>
                      <a:lnTo>
                        <a:pt x="253" y="733"/>
                      </a:lnTo>
                      <a:lnTo>
                        <a:pt x="248" y="723"/>
                      </a:lnTo>
                      <a:lnTo>
                        <a:pt x="244" y="714"/>
                      </a:lnTo>
                      <a:lnTo>
                        <a:pt x="240" y="704"/>
                      </a:lnTo>
                      <a:lnTo>
                        <a:pt x="236" y="694"/>
                      </a:lnTo>
                      <a:lnTo>
                        <a:pt x="232" y="685"/>
                      </a:lnTo>
                      <a:lnTo>
                        <a:pt x="228" y="677"/>
                      </a:lnTo>
                      <a:lnTo>
                        <a:pt x="222" y="670"/>
                      </a:lnTo>
                      <a:lnTo>
                        <a:pt x="216" y="664"/>
                      </a:lnTo>
                      <a:lnTo>
                        <a:pt x="208" y="657"/>
                      </a:lnTo>
                      <a:lnTo>
                        <a:pt x="200" y="653"/>
                      </a:lnTo>
                      <a:lnTo>
                        <a:pt x="191" y="650"/>
                      </a:lnTo>
                      <a:lnTo>
                        <a:pt x="182" y="647"/>
                      </a:lnTo>
                      <a:lnTo>
                        <a:pt x="72" y="625"/>
                      </a:lnTo>
                      <a:lnTo>
                        <a:pt x="72" y="527"/>
                      </a:lnTo>
                      <a:lnTo>
                        <a:pt x="182" y="505"/>
                      </a:lnTo>
                      <a:lnTo>
                        <a:pt x="191" y="503"/>
                      </a:lnTo>
                      <a:lnTo>
                        <a:pt x="200" y="499"/>
                      </a:lnTo>
                      <a:lnTo>
                        <a:pt x="208" y="494"/>
                      </a:lnTo>
                      <a:lnTo>
                        <a:pt x="216" y="489"/>
                      </a:lnTo>
                      <a:lnTo>
                        <a:pt x="222" y="482"/>
                      </a:lnTo>
                      <a:lnTo>
                        <a:pt x="228" y="475"/>
                      </a:lnTo>
                      <a:lnTo>
                        <a:pt x="232" y="466"/>
                      </a:lnTo>
                      <a:lnTo>
                        <a:pt x="236" y="458"/>
                      </a:lnTo>
                      <a:lnTo>
                        <a:pt x="240" y="448"/>
                      </a:lnTo>
                      <a:lnTo>
                        <a:pt x="244" y="438"/>
                      </a:lnTo>
                      <a:lnTo>
                        <a:pt x="248" y="428"/>
                      </a:lnTo>
                      <a:lnTo>
                        <a:pt x="253" y="420"/>
                      </a:lnTo>
                      <a:lnTo>
                        <a:pt x="256" y="410"/>
                      </a:lnTo>
                      <a:lnTo>
                        <a:pt x="258" y="401"/>
                      </a:lnTo>
                      <a:lnTo>
                        <a:pt x="259" y="392"/>
                      </a:lnTo>
                      <a:lnTo>
                        <a:pt x="259" y="383"/>
                      </a:lnTo>
                      <a:lnTo>
                        <a:pt x="258" y="373"/>
                      </a:lnTo>
                      <a:lnTo>
                        <a:pt x="256" y="365"/>
                      </a:lnTo>
                      <a:lnTo>
                        <a:pt x="253" y="356"/>
                      </a:lnTo>
                      <a:lnTo>
                        <a:pt x="247" y="347"/>
                      </a:lnTo>
                      <a:lnTo>
                        <a:pt x="185" y="255"/>
                      </a:lnTo>
                      <a:lnTo>
                        <a:pt x="255" y="185"/>
                      </a:lnTo>
                      <a:lnTo>
                        <a:pt x="348" y="247"/>
                      </a:lnTo>
                      <a:lnTo>
                        <a:pt x="357" y="252"/>
                      </a:lnTo>
                      <a:lnTo>
                        <a:pt x="367" y="257"/>
                      </a:lnTo>
                      <a:lnTo>
                        <a:pt x="378" y="259"/>
                      </a:lnTo>
                      <a:lnTo>
                        <a:pt x="388" y="260"/>
                      </a:lnTo>
                      <a:lnTo>
                        <a:pt x="396" y="259"/>
                      </a:lnTo>
                      <a:lnTo>
                        <a:pt x="404" y="258"/>
                      </a:lnTo>
                      <a:lnTo>
                        <a:pt x="411" y="256"/>
                      </a:lnTo>
                      <a:lnTo>
                        <a:pt x="419" y="252"/>
                      </a:lnTo>
                      <a:lnTo>
                        <a:pt x="429" y="248"/>
                      </a:lnTo>
                      <a:lnTo>
                        <a:pt x="438" y="244"/>
                      </a:lnTo>
                      <a:lnTo>
                        <a:pt x="448" y="239"/>
                      </a:lnTo>
                      <a:lnTo>
                        <a:pt x="458" y="236"/>
                      </a:lnTo>
                      <a:lnTo>
                        <a:pt x="466" y="233"/>
                      </a:lnTo>
                      <a:lnTo>
                        <a:pt x="475" y="228"/>
                      </a:lnTo>
                      <a:lnTo>
                        <a:pt x="482" y="222"/>
                      </a:lnTo>
                      <a:lnTo>
                        <a:pt x="489" y="216"/>
                      </a:lnTo>
                      <a:lnTo>
                        <a:pt x="495" y="208"/>
                      </a:lnTo>
                      <a:lnTo>
                        <a:pt x="499" y="201"/>
                      </a:lnTo>
                      <a:lnTo>
                        <a:pt x="502" y="192"/>
                      </a:lnTo>
                      <a:lnTo>
                        <a:pt x="505" y="182"/>
                      </a:lnTo>
                      <a:lnTo>
                        <a:pt x="527" y="72"/>
                      </a:lnTo>
                      <a:lnTo>
                        <a:pt x="625" y="72"/>
                      </a:lnTo>
                      <a:lnTo>
                        <a:pt x="647" y="182"/>
                      </a:lnTo>
                      <a:lnTo>
                        <a:pt x="649" y="192"/>
                      </a:lnTo>
                      <a:lnTo>
                        <a:pt x="653" y="201"/>
                      </a:lnTo>
                      <a:lnTo>
                        <a:pt x="658" y="208"/>
                      </a:lnTo>
                      <a:lnTo>
                        <a:pt x="663" y="216"/>
                      </a:lnTo>
                      <a:lnTo>
                        <a:pt x="670" y="222"/>
                      </a:lnTo>
                      <a:lnTo>
                        <a:pt x="677" y="228"/>
                      </a:lnTo>
                      <a:lnTo>
                        <a:pt x="686" y="233"/>
                      </a:lnTo>
                      <a:lnTo>
                        <a:pt x="694" y="236"/>
                      </a:lnTo>
                      <a:lnTo>
                        <a:pt x="704" y="239"/>
                      </a:lnTo>
                      <a:lnTo>
                        <a:pt x="714" y="244"/>
                      </a:lnTo>
                      <a:lnTo>
                        <a:pt x="724" y="248"/>
                      </a:lnTo>
                      <a:lnTo>
                        <a:pt x="732" y="252"/>
                      </a:lnTo>
                      <a:lnTo>
                        <a:pt x="741" y="256"/>
                      </a:lnTo>
                      <a:lnTo>
                        <a:pt x="748" y="258"/>
                      </a:lnTo>
                      <a:lnTo>
                        <a:pt x="756" y="259"/>
                      </a:lnTo>
                      <a:lnTo>
                        <a:pt x="765" y="260"/>
                      </a:lnTo>
                      <a:lnTo>
                        <a:pt x="774" y="259"/>
                      </a:lnTo>
                      <a:lnTo>
                        <a:pt x="785" y="257"/>
                      </a:lnTo>
                      <a:lnTo>
                        <a:pt x="795" y="252"/>
                      </a:lnTo>
                      <a:lnTo>
                        <a:pt x="805" y="247"/>
                      </a:lnTo>
                      <a:lnTo>
                        <a:pt x="897" y="185"/>
                      </a:lnTo>
                      <a:lnTo>
                        <a:pt x="967" y="255"/>
                      </a:lnTo>
                      <a:lnTo>
                        <a:pt x="905" y="347"/>
                      </a:lnTo>
                      <a:lnTo>
                        <a:pt x="900" y="356"/>
                      </a:lnTo>
                      <a:lnTo>
                        <a:pt x="896" y="365"/>
                      </a:lnTo>
                      <a:lnTo>
                        <a:pt x="894" y="373"/>
                      </a:lnTo>
                      <a:lnTo>
                        <a:pt x="893" y="383"/>
                      </a:lnTo>
                      <a:lnTo>
                        <a:pt x="893" y="392"/>
                      </a:lnTo>
                      <a:lnTo>
                        <a:pt x="894" y="401"/>
                      </a:lnTo>
                      <a:lnTo>
                        <a:pt x="896" y="410"/>
                      </a:lnTo>
                      <a:lnTo>
                        <a:pt x="900" y="419"/>
                      </a:lnTo>
                      <a:lnTo>
                        <a:pt x="904" y="428"/>
                      </a:lnTo>
                      <a:lnTo>
                        <a:pt x="908" y="438"/>
                      </a:lnTo>
                      <a:lnTo>
                        <a:pt x="913" y="448"/>
                      </a:lnTo>
                      <a:lnTo>
                        <a:pt x="916" y="458"/>
                      </a:lnTo>
                      <a:lnTo>
                        <a:pt x="919" y="466"/>
                      </a:lnTo>
                      <a:lnTo>
                        <a:pt x="924" y="475"/>
                      </a:lnTo>
                      <a:lnTo>
                        <a:pt x="930" y="482"/>
                      </a:lnTo>
                      <a:lnTo>
                        <a:pt x="936" y="489"/>
                      </a:lnTo>
                      <a:lnTo>
                        <a:pt x="944" y="494"/>
                      </a:lnTo>
                      <a:lnTo>
                        <a:pt x="951" y="499"/>
                      </a:lnTo>
                      <a:lnTo>
                        <a:pt x="960" y="503"/>
                      </a:lnTo>
                      <a:lnTo>
                        <a:pt x="970" y="505"/>
                      </a:lnTo>
                      <a:lnTo>
                        <a:pt x="1080" y="527"/>
                      </a:lnTo>
                      <a:lnTo>
                        <a:pt x="1080" y="625"/>
                      </a:lnTo>
                      <a:lnTo>
                        <a:pt x="970" y="647"/>
                      </a:lnTo>
                      <a:close/>
                      <a:moveTo>
                        <a:pt x="1094" y="456"/>
                      </a:moveTo>
                      <a:lnTo>
                        <a:pt x="984" y="434"/>
                      </a:lnTo>
                      <a:lnTo>
                        <a:pt x="979" y="422"/>
                      </a:lnTo>
                      <a:lnTo>
                        <a:pt x="975" y="411"/>
                      </a:lnTo>
                      <a:lnTo>
                        <a:pt x="970" y="399"/>
                      </a:lnTo>
                      <a:lnTo>
                        <a:pt x="964" y="387"/>
                      </a:lnTo>
                      <a:lnTo>
                        <a:pt x="1027" y="294"/>
                      </a:lnTo>
                      <a:lnTo>
                        <a:pt x="1030" y="289"/>
                      </a:lnTo>
                      <a:lnTo>
                        <a:pt x="1033" y="283"/>
                      </a:lnTo>
                      <a:lnTo>
                        <a:pt x="1036" y="277"/>
                      </a:lnTo>
                      <a:lnTo>
                        <a:pt x="1037" y="272"/>
                      </a:lnTo>
                      <a:lnTo>
                        <a:pt x="1039" y="259"/>
                      </a:lnTo>
                      <a:lnTo>
                        <a:pt x="1039" y="247"/>
                      </a:lnTo>
                      <a:lnTo>
                        <a:pt x="1037" y="235"/>
                      </a:lnTo>
                      <a:lnTo>
                        <a:pt x="1032" y="223"/>
                      </a:lnTo>
                      <a:lnTo>
                        <a:pt x="1029" y="218"/>
                      </a:lnTo>
                      <a:lnTo>
                        <a:pt x="1026" y="213"/>
                      </a:lnTo>
                      <a:lnTo>
                        <a:pt x="1023" y="208"/>
                      </a:lnTo>
                      <a:lnTo>
                        <a:pt x="1018" y="204"/>
                      </a:lnTo>
                      <a:lnTo>
                        <a:pt x="948" y="134"/>
                      </a:lnTo>
                      <a:lnTo>
                        <a:pt x="943" y="129"/>
                      </a:lnTo>
                      <a:lnTo>
                        <a:pt x="937" y="125"/>
                      </a:lnTo>
                      <a:lnTo>
                        <a:pt x="931" y="122"/>
                      </a:lnTo>
                      <a:lnTo>
                        <a:pt x="925" y="118"/>
                      </a:lnTo>
                      <a:lnTo>
                        <a:pt x="918" y="116"/>
                      </a:lnTo>
                      <a:lnTo>
                        <a:pt x="911" y="114"/>
                      </a:lnTo>
                      <a:lnTo>
                        <a:pt x="905" y="113"/>
                      </a:lnTo>
                      <a:lnTo>
                        <a:pt x="897" y="113"/>
                      </a:lnTo>
                      <a:lnTo>
                        <a:pt x="888" y="114"/>
                      </a:lnTo>
                      <a:lnTo>
                        <a:pt x="877" y="116"/>
                      </a:lnTo>
                      <a:lnTo>
                        <a:pt x="867" y="120"/>
                      </a:lnTo>
                      <a:lnTo>
                        <a:pt x="857" y="125"/>
                      </a:lnTo>
                      <a:lnTo>
                        <a:pt x="765" y="188"/>
                      </a:lnTo>
                      <a:lnTo>
                        <a:pt x="753" y="182"/>
                      </a:lnTo>
                      <a:lnTo>
                        <a:pt x="741" y="177"/>
                      </a:lnTo>
                      <a:lnTo>
                        <a:pt x="730" y="172"/>
                      </a:lnTo>
                      <a:lnTo>
                        <a:pt x="718" y="168"/>
                      </a:lnTo>
                      <a:lnTo>
                        <a:pt x="695" y="58"/>
                      </a:lnTo>
                      <a:lnTo>
                        <a:pt x="694" y="51"/>
                      </a:lnTo>
                      <a:lnTo>
                        <a:pt x="692" y="46"/>
                      </a:lnTo>
                      <a:lnTo>
                        <a:pt x="689" y="40"/>
                      </a:lnTo>
                      <a:lnTo>
                        <a:pt x="687" y="34"/>
                      </a:lnTo>
                      <a:lnTo>
                        <a:pt x="679" y="24"/>
                      </a:lnTo>
                      <a:lnTo>
                        <a:pt x="671" y="16"/>
                      </a:lnTo>
                      <a:lnTo>
                        <a:pt x="661" y="9"/>
                      </a:lnTo>
                      <a:lnTo>
                        <a:pt x="649" y="4"/>
                      </a:lnTo>
                      <a:lnTo>
                        <a:pt x="644" y="3"/>
                      </a:lnTo>
                      <a:lnTo>
                        <a:pt x="637" y="1"/>
                      </a:lnTo>
                      <a:lnTo>
                        <a:pt x="632" y="1"/>
                      </a:lnTo>
                      <a:lnTo>
                        <a:pt x="625" y="0"/>
                      </a:lnTo>
                      <a:lnTo>
                        <a:pt x="527" y="0"/>
                      </a:lnTo>
                      <a:lnTo>
                        <a:pt x="520" y="1"/>
                      </a:lnTo>
                      <a:lnTo>
                        <a:pt x="514" y="1"/>
                      </a:lnTo>
                      <a:lnTo>
                        <a:pt x="509" y="3"/>
                      </a:lnTo>
                      <a:lnTo>
                        <a:pt x="502" y="4"/>
                      </a:lnTo>
                      <a:lnTo>
                        <a:pt x="491" y="9"/>
                      </a:lnTo>
                      <a:lnTo>
                        <a:pt x="482" y="16"/>
                      </a:lnTo>
                      <a:lnTo>
                        <a:pt x="473" y="24"/>
                      </a:lnTo>
                      <a:lnTo>
                        <a:pt x="465" y="34"/>
                      </a:lnTo>
                      <a:lnTo>
                        <a:pt x="462" y="40"/>
                      </a:lnTo>
                      <a:lnTo>
                        <a:pt x="460" y="46"/>
                      </a:lnTo>
                      <a:lnTo>
                        <a:pt x="458" y="51"/>
                      </a:lnTo>
                      <a:lnTo>
                        <a:pt x="457" y="58"/>
                      </a:lnTo>
                      <a:lnTo>
                        <a:pt x="434" y="168"/>
                      </a:lnTo>
                      <a:lnTo>
                        <a:pt x="422" y="172"/>
                      </a:lnTo>
                      <a:lnTo>
                        <a:pt x="410" y="177"/>
                      </a:lnTo>
                      <a:lnTo>
                        <a:pt x="400" y="182"/>
                      </a:lnTo>
                      <a:lnTo>
                        <a:pt x="388" y="188"/>
                      </a:lnTo>
                      <a:lnTo>
                        <a:pt x="295" y="125"/>
                      </a:lnTo>
                      <a:lnTo>
                        <a:pt x="285" y="120"/>
                      </a:lnTo>
                      <a:lnTo>
                        <a:pt x="275" y="116"/>
                      </a:lnTo>
                      <a:lnTo>
                        <a:pt x="265" y="114"/>
                      </a:lnTo>
                      <a:lnTo>
                        <a:pt x="255" y="113"/>
                      </a:lnTo>
                      <a:lnTo>
                        <a:pt x="247" y="113"/>
                      </a:lnTo>
                      <a:lnTo>
                        <a:pt x="241" y="114"/>
                      </a:lnTo>
                      <a:lnTo>
                        <a:pt x="233" y="116"/>
                      </a:lnTo>
                      <a:lnTo>
                        <a:pt x="227" y="118"/>
                      </a:lnTo>
                      <a:lnTo>
                        <a:pt x="220" y="122"/>
                      </a:lnTo>
                      <a:lnTo>
                        <a:pt x="215" y="125"/>
                      </a:lnTo>
                      <a:lnTo>
                        <a:pt x="208" y="129"/>
                      </a:lnTo>
                      <a:lnTo>
                        <a:pt x="203" y="134"/>
                      </a:lnTo>
                      <a:lnTo>
                        <a:pt x="134" y="204"/>
                      </a:lnTo>
                      <a:lnTo>
                        <a:pt x="130" y="208"/>
                      </a:lnTo>
                      <a:lnTo>
                        <a:pt x="126" y="213"/>
                      </a:lnTo>
                      <a:lnTo>
                        <a:pt x="123" y="218"/>
                      </a:lnTo>
                      <a:lnTo>
                        <a:pt x="120" y="223"/>
                      </a:lnTo>
                      <a:lnTo>
                        <a:pt x="115" y="235"/>
                      </a:lnTo>
                      <a:lnTo>
                        <a:pt x="113" y="247"/>
                      </a:lnTo>
                      <a:lnTo>
                        <a:pt x="113" y="259"/>
                      </a:lnTo>
                      <a:lnTo>
                        <a:pt x="115" y="272"/>
                      </a:lnTo>
                      <a:lnTo>
                        <a:pt x="117" y="277"/>
                      </a:lnTo>
                      <a:lnTo>
                        <a:pt x="119" y="283"/>
                      </a:lnTo>
                      <a:lnTo>
                        <a:pt x="122" y="289"/>
                      </a:lnTo>
                      <a:lnTo>
                        <a:pt x="125" y="294"/>
                      </a:lnTo>
                      <a:lnTo>
                        <a:pt x="188" y="387"/>
                      </a:lnTo>
                      <a:lnTo>
                        <a:pt x="182" y="399"/>
                      </a:lnTo>
                      <a:lnTo>
                        <a:pt x="177" y="411"/>
                      </a:lnTo>
                      <a:lnTo>
                        <a:pt x="173" y="422"/>
                      </a:lnTo>
                      <a:lnTo>
                        <a:pt x="168" y="434"/>
                      </a:lnTo>
                      <a:lnTo>
                        <a:pt x="58" y="456"/>
                      </a:lnTo>
                      <a:lnTo>
                        <a:pt x="52" y="458"/>
                      </a:lnTo>
                      <a:lnTo>
                        <a:pt x="45" y="460"/>
                      </a:lnTo>
                      <a:lnTo>
                        <a:pt x="40" y="463"/>
                      </a:lnTo>
                      <a:lnTo>
                        <a:pt x="34" y="465"/>
                      </a:lnTo>
                      <a:lnTo>
                        <a:pt x="25" y="473"/>
                      </a:lnTo>
                      <a:lnTo>
                        <a:pt x="16" y="481"/>
                      </a:lnTo>
                      <a:lnTo>
                        <a:pt x="10" y="491"/>
                      </a:lnTo>
                      <a:lnTo>
                        <a:pt x="4" y="503"/>
                      </a:lnTo>
                      <a:lnTo>
                        <a:pt x="2" y="508"/>
                      </a:lnTo>
                      <a:lnTo>
                        <a:pt x="1" y="515"/>
                      </a:lnTo>
                      <a:lnTo>
                        <a:pt x="0" y="520"/>
                      </a:lnTo>
                      <a:lnTo>
                        <a:pt x="0" y="527"/>
                      </a:lnTo>
                      <a:lnTo>
                        <a:pt x="0" y="625"/>
                      </a:lnTo>
                      <a:lnTo>
                        <a:pt x="0" y="631"/>
                      </a:lnTo>
                      <a:lnTo>
                        <a:pt x="1" y="638"/>
                      </a:lnTo>
                      <a:lnTo>
                        <a:pt x="2" y="643"/>
                      </a:lnTo>
                      <a:lnTo>
                        <a:pt x="4" y="650"/>
                      </a:lnTo>
                      <a:lnTo>
                        <a:pt x="10" y="661"/>
                      </a:lnTo>
                      <a:lnTo>
                        <a:pt x="16" y="670"/>
                      </a:lnTo>
                      <a:lnTo>
                        <a:pt x="25" y="679"/>
                      </a:lnTo>
                      <a:lnTo>
                        <a:pt x="34" y="687"/>
                      </a:lnTo>
                      <a:lnTo>
                        <a:pt x="40" y="690"/>
                      </a:lnTo>
                      <a:lnTo>
                        <a:pt x="45" y="692"/>
                      </a:lnTo>
                      <a:lnTo>
                        <a:pt x="52" y="694"/>
                      </a:lnTo>
                      <a:lnTo>
                        <a:pt x="58" y="695"/>
                      </a:lnTo>
                      <a:lnTo>
                        <a:pt x="168" y="718"/>
                      </a:lnTo>
                      <a:lnTo>
                        <a:pt x="173" y="730"/>
                      </a:lnTo>
                      <a:lnTo>
                        <a:pt x="177" y="742"/>
                      </a:lnTo>
                      <a:lnTo>
                        <a:pt x="182" y="752"/>
                      </a:lnTo>
                      <a:lnTo>
                        <a:pt x="188" y="764"/>
                      </a:lnTo>
                      <a:lnTo>
                        <a:pt x="125" y="858"/>
                      </a:lnTo>
                      <a:lnTo>
                        <a:pt x="122" y="864"/>
                      </a:lnTo>
                      <a:lnTo>
                        <a:pt x="119" y="869"/>
                      </a:lnTo>
                      <a:lnTo>
                        <a:pt x="117" y="874"/>
                      </a:lnTo>
                      <a:lnTo>
                        <a:pt x="115" y="881"/>
                      </a:lnTo>
                      <a:lnTo>
                        <a:pt x="113" y="893"/>
                      </a:lnTo>
                      <a:lnTo>
                        <a:pt x="113" y="905"/>
                      </a:lnTo>
                      <a:lnTo>
                        <a:pt x="115" y="917"/>
                      </a:lnTo>
                      <a:lnTo>
                        <a:pt x="120" y="928"/>
                      </a:lnTo>
                      <a:lnTo>
                        <a:pt x="123" y="934"/>
                      </a:lnTo>
                      <a:lnTo>
                        <a:pt x="126" y="939"/>
                      </a:lnTo>
                      <a:lnTo>
                        <a:pt x="130" y="944"/>
                      </a:lnTo>
                      <a:lnTo>
                        <a:pt x="134" y="949"/>
                      </a:lnTo>
                      <a:lnTo>
                        <a:pt x="203" y="1018"/>
                      </a:lnTo>
                      <a:lnTo>
                        <a:pt x="208" y="1022"/>
                      </a:lnTo>
                      <a:lnTo>
                        <a:pt x="215" y="1027"/>
                      </a:lnTo>
                      <a:lnTo>
                        <a:pt x="220" y="1031"/>
                      </a:lnTo>
                      <a:lnTo>
                        <a:pt x="227" y="1033"/>
                      </a:lnTo>
                      <a:lnTo>
                        <a:pt x="233" y="1036"/>
                      </a:lnTo>
                      <a:lnTo>
                        <a:pt x="241" y="1038"/>
                      </a:lnTo>
                      <a:lnTo>
                        <a:pt x="247" y="1039"/>
                      </a:lnTo>
                      <a:lnTo>
                        <a:pt x="255" y="1039"/>
                      </a:lnTo>
                      <a:lnTo>
                        <a:pt x="265" y="1039"/>
                      </a:lnTo>
                      <a:lnTo>
                        <a:pt x="275" y="1036"/>
                      </a:lnTo>
                      <a:lnTo>
                        <a:pt x="285" y="1032"/>
                      </a:lnTo>
                      <a:lnTo>
                        <a:pt x="295" y="1027"/>
                      </a:lnTo>
                      <a:lnTo>
                        <a:pt x="388" y="964"/>
                      </a:lnTo>
                      <a:lnTo>
                        <a:pt x="400" y="969"/>
                      </a:lnTo>
                      <a:lnTo>
                        <a:pt x="410" y="975"/>
                      </a:lnTo>
                      <a:lnTo>
                        <a:pt x="422" y="979"/>
                      </a:lnTo>
                      <a:lnTo>
                        <a:pt x="434" y="984"/>
                      </a:lnTo>
                      <a:lnTo>
                        <a:pt x="457" y="1094"/>
                      </a:lnTo>
                      <a:lnTo>
                        <a:pt x="458" y="1100"/>
                      </a:lnTo>
                      <a:lnTo>
                        <a:pt x="460" y="1107"/>
                      </a:lnTo>
                      <a:lnTo>
                        <a:pt x="462" y="1112"/>
                      </a:lnTo>
                      <a:lnTo>
                        <a:pt x="465" y="1117"/>
                      </a:lnTo>
                      <a:lnTo>
                        <a:pt x="473" y="1127"/>
                      </a:lnTo>
                      <a:lnTo>
                        <a:pt x="482" y="1136"/>
                      </a:lnTo>
                      <a:lnTo>
                        <a:pt x="491" y="1142"/>
                      </a:lnTo>
                      <a:lnTo>
                        <a:pt x="502" y="1148"/>
                      </a:lnTo>
                      <a:lnTo>
                        <a:pt x="509" y="1150"/>
                      </a:lnTo>
                      <a:lnTo>
                        <a:pt x="514" y="1151"/>
                      </a:lnTo>
                      <a:lnTo>
                        <a:pt x="520" y="1152"/>
                      </a:lnTo>
                      <a:lnTo>
                        <a:pt x="527" y="1152"/>
                      </a:lnTo>
                      <a:lnTo>
                        <a:pt x="625" y="1152"/>
                      </a:lnTo>
                      <a:lnTo>
                        <a:pt x="632" y="1152"/>
                      </a:lnTo>
                      <a:lnTo>
                        <a:pt x="637" y="1151"/>
                      </a:lnTo>
                      <a:lnTo>
                        <a:pt x="644" y="1150"/>
                      </a:lnTo>
                      <a:lnTo>
                        <a:pt x="649" y="1148"/>
                      </a:lnTo>
                      <a:lnTo>
                        <a:pt x="661" y="1142"/>
                      </a:lnTo>
                      <a:lnTo>
                        <a:pt x="671" y="1136"/>
                      </a:lnTo>
                      <a:lnTo>
                        <a:pt x="679" y="1127"/>
                      </a:lnTo>
                      <a:lnTo>
                        <a:pt x="687" y="1117"/>
                      </a:lnTo>
                      <a:lnTo>
                        <a:pt x="689" y="1112"/>
                      </a:lnTo>
                      <a:lnTo>
                        <a:pt x="692" y="1107"/>
                      </a:lnTo>
                      <a:lnTo>
                        <a:pt x="694" y="1100"/>
                      </a:lnTo>
                      <a:lnTo>
                        <a:pt x="695" y="1094"/>
                      </a:lnTo>
                      <a:lnTo>
                        <a:pt x="718" y="984"/>
                      </a:lnTo>
                      <a:lnTo>
                        <a:pt x="730" y="979"/>
                      </a:lnTo>
                      <a:lnTo>
                        <a:pt x="741" y="975"/>
                      </a:lnTo>
                      <a:lnTo>
                        <a:pt x="753" y="969"/>
                      </a:lnTo>
                      <a:lnTo>
                        <a:pt x="765" y="964"/>
                      </a:lnTo>
                      <a:lnTo>
                        <a:pt x="857" y="1027"/>
                      </a:lnTo>
                      <a:lnTo>
                        <a:pt x="867" y="1032"/>
                      </a:lnTo>
                      <a:lnTo>
                        <a:pt x="877" y="1036"/>
                      </a:lnTo>
                      <a:lnTo>
                        <a:pt x="888" y="1039"/>
                      </a:lnTo>
                      <a:lnTo>
                        <a:pt x="897" y="1039"/>
                      </a:lnTo>
                      <a:lnTo>
                        <a:pt x="905" y="1039"/>
                      </a:lnTo>
                      <a:lnTo>
                        <a:pt x="911" y="1038"/>
                      </a:lnTo>
                      <a:lnTo>
                        <a:pt x="918" y="1036"/>
                      </a:lnTo>
                      <a:lnTo>
                        <a:pt x="925" y="1033"/>
                      </a:lnTo>
                      <a:lnTo>
                        <a:pt x="931" y="1031"/>
                      </a:lnTo>
                      <a:lnTo>
                        <a:pt x="937" y="1027"/>
                      </a:lnTo>
                      <a:lnTo>
                        <a:pt x="943" y="1022"/>
                      </a:lnTo>
                      <a:lnTo>
                        <a:pt x="948" y="1018"/>
                      </a:lnTo>
                      <a:lnTo>
                        <a:pt x="1018" y="949"/>
                      </a:lnTo>
                      <a:lnTo>
                        <a:pt x="1023" y="944"/>
                      </a:lnTo>
                      <a:lnTo>
                        <a:pt x="1026" y="939"/>
                      </a:lnTo>
                      <a:lnTo>
                        <a:pt x="1029" y="934"/>
                      </a:lnTo>
                      <a:lnTo>
                        <a:pt x="1032" y="928"/>
                      </a:lnTo>
                      <a:lnTo>
                        <a:pt x="1037" y="917"/>
                      </a:lnTo>
                      <a:lnTo>
                        <a:pt x="1039" y="905"/>
                      </a:lnTo>
                      <a:lnTo>
                        <a:pt x="1039" y="893"/>
                      </a:lnTo>
                      <a:lnTo>
                        <a:pt x="1037" y="881"/>
                      </a:lnTo>
                      <a:lnTo>
                        <a:pt x="1036" y="874"/>
                      </a:lnTo>
                      <a:lnTo>
                        <a:pt x="1033" y="869"/>
                      </a:lnTo>
                      <a:lnTo>
                        <a:pt x="1030" y="864"/>
                      </a:lnTo>
                      <a:lnTo>
                        <a:pt x="1027" y="858"/>
                      </a:lnTo>
                      <a:lnTo>
                        <a:pt x="964" y="764"/>
                      </a:lnTo>
                      <a:lnTo>
                        <a:pt x="970" y="752"/>
                      </a:lnTo>
                      <a:lnTo>
                        <a:pt x="975" y="742"/>
                      </a:lnTo>
                      <a:lnTo>
                        <a:pt x="979" y="730"/>
                      </a:lnTo>
                      <a:lnTo>
                        <a:pt x="984" y="718"/>
                      </a:lnTo>
                      <a:lnTo>
                        <a:pt x="1094" y="695"/>
                      </a:lnTo>
                      <a:lnTo>
                        <a:pt x="1100" y="694"/>
                      </a:lnTo>
                      <a:lnTo>
                        <a:pt x="1106" y="692"/>
                      </a:lnTo>
                      <a:lnTo>
                        <a:pt x="1112" y="690"/>
                      </a:lnTo>
                      <a:lnTo>
                        <a:pt x="1118" y="687"/>
                      </a:lnTo>
                      <a:lnTo>
                        <a:pt x="1127" y="679"/>
                      </a:lnTo>
                      <a:lnTo>
                        <a:pt x="1136" y="670"/>
                      </a:lnTo>
                      <a:lnTo>
                        <a:pt x="1143" y="661"/>
                      </a:lnTo>
                      <a:lnTo>
                        <a:pt x="1148" y="650"/>
                      </a:lnTo>
                      <a:lnTo>
                        <a:pt x="1149" y="643"/>
                      </a:lnTo>
                      <a:lnTo>
                        <a:pt x="1151" y="638"/>
                      </a:lnTo>
                      <a:lnTo>
                        <a:pt x="1151" y="631"/>
                      </a:lnTo>
                      <a:lnTo>
                        <a:pt x="1152" y="625"/>
                      </a:lnTo>
                      <a:lnTo>
                        <a:pt x="1152" y="527"/>
                      </a:lnTo>
                      <a:lnTo>
                        <a:pt x="1151" y="520"/>
                      </a:lnTo>
                      <a:lnTo>
                        <a:pt x="1151" y="515"/>
                      </a:lnTo>
                      <a:lnTo>
                        <a:pt x="1149" y="508"/>
                      </a:lnTo>
                      <a:lnTo>
                        <a:pt x="1148" y="503"/>
                      </a:lnTo>
                      <a:lnTo>
                        <a:pt x="1143" y="491"/>
                      </a:lnTo>
                      <a:lnTo>
                        <a:pt x="1136" y="481"/>
                      </a:lnTo>
                      <a:lnTo>
                        <a:pt x="1127" y="473"/>
                      </a:lnTo>
                      <a:lnTo>
                        <a:pt x="1118" y="465"/>
                      </a:lnTo>
                      <a:lnTo>
                        <a:pt x="1112" y="463"/>
                      </a:lnTo>
                      <a:lnTo>
                        <a:pt x="1106" y="460"/>
                      </a:lnTo>
                      <a:lnTo>
                        <a:pt x="1100" y="458"/>
                      </a:lnTo>
                      <a:lnTo>
                        <a:pt x="1094" y="4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125">
                  <a:extLst>
                    <a:ext uri="{FF2B5EF4-FFF2-40B4-BE49-F238E27FC236}">
                      <a16:creationId xmlns:a16="http://schemas.microsoft.com/office/drawing/2014/main" id="{082FBD68-9337-6479-FEFA-B03AE7F4D8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1856" y="2882503"/>
                  <a:ext cx="200025" cy="200025"/>
                </a:xfrm>
                <a:custGeom>
                  <a:avLst/>
                  <a:gdLst>
                    <a:gd name="T0" fmla="*/ 218 w 504"/>
                    <a:gd name="T1" fmla="*/ 469 h 504"/>
                    <a:gd name="T2" fmla="*/ 147 w 504"/>
                    <a:gd name="T3" fmla="*/ 446 h 504"/>
                    <a:gd name="T4" fmla="*/ 82 w 504"/>
                    <a:gd name="T5" fmla="*/ 392 h 504"/>
                    <a:gd name="T6" fmla="*/ 41 w 504"/>
                    <a:gd name="T7" fmla="*/ 317 h 504"/>
                    <a:gd name="T8" fmla="*/ 32 w 504"/>
                    <a:gd name="T9" fmla="*/ 263 h 504"/>
                    <a:gd name="T10" fmla="*/ 34 w 504"/>
                    <a:gd name="T11" fmla="*/ 219 h 504"/>
                    <a:gd name="T12" fmla="*/ 58 w 504"/>
                    <a:gd name="T13" fmla="*/ 147 h 504"/>
                    <a:gd name="T14" fmla="*/ 112 w 504"/>
                    <a:gd name="T15" fmla="*/ 82 h 504"/>
                    <a:gd name="T16" fmla="*/ 187 w 504"/>
                    <a:gd name="T17" fmla="*/ 42 h 504"/>
                    <a:gd name="T18" fmla="*/ 241 w 504"/>
                    <a:gd name="T19" fmla="*/ 32 h 504"/>
                    <a:gd name="T20" fmla="*/ 286 w 504"/>
                    <a:gd name="T21" fmla="*/ 34 h 504"/>
                    <a:gd name="T22" fmla="*/ 357 w 504"/>
                    <a:gd name="T23" fmla="*/ 58 h 504"/>
                    <a:gd name="T24" fmla="*/ 422 w 504"/>
                    <a:gd name="T25" fmla="*/ 112 h 504"/>
                    <a:gd name="T26" fmla="*/ 462 w 504"/>
                    <a:gd name="T27" fmla="*/ 186 h 504"/>
                    <a:gd name="T28" fmla="*/ 472 w 504"/>
                    <a:gd name="T29" fmla="*/ 240 h 504"/>
                    <a:gd name="T30" fmla="*/ 470 w 504"/>
                    <a:gd name="T31" fmla="*/ 286 h 504"/>
                    <a:gd name="T32" fmla="*/ 446 w 504"/>
                    <a:gd name="T33" fmla="*/ 357 h 504"/>
                    <a:gd name="T34" fmla="*/ 392 w 504"/>
                    <a:gd name="T35" fmla="*/ 422 h 504"/>
                    <a:gd name="T36" fmla="*/ 317 w 504"/>
                    <a:gd name="T37" fmla="*/ 463 h 504"/>
                    <a:gd name="T38" fmla="*/ 263 w 504"/>
                    <a:gd name="T39" fmla="*/ 473 h 504"/>
                    <a:gd name="T40" fmla="*/ 239 w 504"/>
                    <a:gd name="T41" fmla="*/ 1 h 504"/>
                    <a:gd name="T42" fmla="*/ 189 w 504"/>
                    <a:gd name="T43" fmla="*/ 8 h 504"/>
                    <a:gd name="T44" fmla="*/ 142 w 504"/>
                    <a:gd name="T45" fmla="*/ 24 h 504"/>
                    <a:gd name="T46" fmla="*/ 101 w 504"/>
                    <a:gd name="T47" fmla="*/ 50 h 504"/>
                    <a:gd name="T48" fmla="*/ 66 w 504"/>
                    <a:gd name="T49" fmla="*/ 83 h 504"/>
                    <a:gd name="T50" fmla="*/ 37 w 504"/>
                    <a:gd name="T51" fmla="*/ 122 h 504"/>
                    <a:gd name="T52" fmla="*/ 15 w 504"/>
                    <a:gd name="T53" fmla="*/ 165 h 504"/>
                    <a:gd name="T54" fmla="*/ 3 w 504"/>
                    <a:gd name="T55" fmla="*/ 213 h 504"/>
                    <a:gd name="T56" fmla="*/ 0 w 504"/>
                    <a:gd name="T57" fmla="*/ 265 h 504"/>
                    <a:gd name="T58" fmla="*/ 7 w 504"/>
                    <a:gd name="T59" fmla="*/ 315 h 504"/>
                    <a:gd name="T60" fmla="*/ 25 w 504"/>
                    <a:gd name="T61" fmla="*/ 361 h 504"/>
                    <a:gd name="T62" fmla="*/ 50 w 504"/>
                    <a:gd name="T63" fmla="*/ 402 h 504"/>
                    <a:gd name="T64" fmla="*/ 83 w 504"/>
                    <a:gd name="T65" fmla="*/ 438 h 504"/>
                    <a:gd name="T66" fmla="*/ 121 w 504"/>
                    <a:gd name="T67" fmla="*/ 467 h 504"/>
                    <a:gd name="T68" fmla="*/ 165 w 504"/>
                    <a:gd name="T69" fmla="*/ 489 h 504"/>
                    <a:gd name="T70" fmla="*/ 214 w 504"/>
                    <a:gd name="T71" fmla="*/ 501 h 504"/>
                    <a:gd name="T72" fmla="*/ 265 w 504"/>
                    <a:gd name="T73" fmla="*/ 504 h 504"/>
                    <a:gd name="T74" fmla="*/ 315 w 504"/>
                    <a:gd name="T75" fmla="*/ 496 h 504"/>
                    <a:gd name="T76" fmla="*/ 362 w 504"/>
                    <a:gd name="T77" fmla="*/ 479 h 504"/>
                    <a:gd name="T78" fmla="*/ 403 w 504"/>
                    <a:gd name="T79" fmla="*/ 454 h 504"/>
                    <a:gd name="T80" fmla="*/ 438 w 504"/>
                    <a:gd name="T81" fmla="*/ 421 h 504"/>
                    <a:gd name="T82" fmla="*/ 468 w 504"/>
                    <a:gd name="T83" fmla="*/ 383 h 504"/>
                    <a:gd name="T84" fmla="*/ 489 w 504"/>
                    <a:gd name="T85" fmla="*/ 339 h 504"/>
                    <a:gd name="T86" fmla="*/ 501 w 504"/>
                    <a:gd name="T87" fmla="*/ 290 h 504"/>
                    <a:gd name="T88" fmla="*/ 503 w 504"/>
                    <a:gd name="T89" fmla="*/ 239 h 504"/>
                    <a:gd name="T90" fmla="*/ 496 w 504"/>
                    <a:gd name="T91" fmla="*/ 189 h 504"/>
                    <a:gd name="T92" fmla="*/ 479 w 504"/>
                    <a:gd name="T93" fmla="*/ 142 h 504"/>
                    <a:gd name="T94" fmla="*/ 454 w 504"/>
                    <a:gd name="T95" fmla="*/ 101 h 504"/>
                    <a:gd name="T96" fmla="*/ 421 w 504"/>
                    <a:gd name="T97" fmla="*/ 66 h 504"/>
                    <a:gd name="T98" fmla="*/ 382 w 504"/>
                    <a:gd name="T99" fmla="*/ 36 h 504"/>
                    <a:gd name="T100" fmla="*/ 339 w 504"/>
                    <a:gd name="T101" fmla="*/ 15 h 504"/>
                    <a:gd name="T102" fmla="*/ 290 w 504"/>
                    <a:gd name="T103" fmla="*/ 3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04" h="504">
                      <a:moveTo>
                        <a:pt x="252" y="473"/>
                      </a:moveTo>
                      <a:lnTo>
                        <a:pt x="241" y="473"/>
                      </a:lnTo>
                      <a:lnTo>
                        <a:pt x="230" y="472"/>
                      </a:lnTo>
                      <a:lnTo>
                        <a:pt x="218" y="469"/>
                      </a:lnTo>
                      <a:lnTo>
                        <a:pt x="207" y="468"/>
                      </a:lnTo>
                      <a:lnTo>
                        <a:pt x="187" y="463"/>
                      </a:lnTo>
                      <a:lnTo>
                        <a:pt x="166" y="455"/>
                      </a:lnTo>
                      <a:lnTo>
                        <a:pt x="147" y="446"/>
                      </a:lnTo>
                      <a:lnTo>
                        <a:pt x="128" y="435"/>
                      </a:lnTo>
                      <a:lnTo>
                        <a:pt x="112" y="422"/>
                      </a:lnTo>
                      <a:lnTo>
                        <a:pt x="96" y="408"/>
                      </a:lnTo>
                      <a:lnTo>
                        <a:pt x="82" y="392"/>
                      </a:lnTo>
                      <a:lnTo>
                        <a:pt x="69" y="375"/>
                      </a:lnTo>
                      <a:lnTo>
                        <a:pt x="58" y="357"/>
                      </a:lnTo>
                      <a:lnTo>
                        <a:pt x="49" y="338"/>
                      </a:lnTo>
                      <a:lnTo>
                        <a:pt x="41" y="317"/>
                      </a:lnTo>
                      <a:lnTo>
                        <a:pt x="36" y="297"/>
                      </a:lnTo>
                      <a:lnTo>
                        <a:pt x="34" y="286"/>
                      </a:lnTo>
                      <a:lnTo>
                        <a:pt x="32" y="274"/>
                      </a:lnTo>
                      <a:lnTo>
                        <a:pt x="32" y="263"/>
                      </a:lnTo>
                      <a:lnTo>
                        <a:pt x="31" y="252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4" y="219"/>
                      </a:lnTo>
                      <a:lnTo>
                        <a:pt x="36" y="207"/>
                      </a:lnTo>
                      <a:lnTo>
                        <a:pt x="41" y="186"/>
                      </a:lnTo>
                      <a:lnTo>
                        <a:pt x="49" y="166"/>
                      </a:lnTo>
                      <a:lnTo>
                        <a:pt x="58" y="147"/>
                      </a:lnTo>
                      <a:lnTo>
                        <a:pt x="69" y="128"/>
                      </a:lnTo>
                      <a:lnTo>
                        <a:pt x="82" y="112"/>
                      </a:lnTo>
                      <a:lnTo>
                        <a:pt x="96" y="96"/>
                      </a:lnTo>
                      <a:lnTo>
                        <a:pt x="112" y="82"/>
                      </a:lnTo>
                      <a:lnTo>
                        <a:pt x="128" y="69"/>
                      </a:lnTo>
                      <a:lnTo>
                        <a:pt x="147" y="58"/>
                      </a:lnTo>
                      <a:lnTo>
                        <a:pt x="166" y="49"/>
                      </a:lnTo>
                      <a:lnTo>
                        <a:pt x="187" y="42"/>
                      </a:lnTo>
                      <a:lnTo>
                        <a:pt x="207" y="36"/>
                      </a:lnTo>
                      <a:lnTo>
                        <a:pt x="218" y="34"/>
                      </a:lnTo>
                      <a:lnTo>
                        <a:pt x="230" y="33"/>
                      </a:lnTo>
                      <a:lnTo>
                        <a:pt x="241" y="32"/>
                      </a:lnTo>
                      <a:lnTo>
                        <a:pt x="252" y="31"/>
                      </a:lnTo>
                      <a:lnTo>
                        <a:pt x="263" y="32"/>
                      </a:lnTo>
                      <a:lnTo>
                        <a:pt x="274" y="33"/>
                      </a:lnTo>
                      <a:lnTo>
                        <a:pt x="286" y="34"/>
                      </a:lnTo>
                      <a:lnTo>
                        <a:pt x="297" y="36"/>
                      </a:lnTo>
                      <a:lnTo>
                        <a:pt x="317" y="42"/>
                      </a:lnTo>
                      <a:lnTo>
                        <a:pt x="338" y="49"/>
                      </a:lnTo>
                      <a:lnTo>
                        <a:pt x="357" y="58"/>
                      </a:lnTo>
                      <a:lnTo>
                        <a:pt x="376" y="69"/>
                      </a:lnTo>
                      <a:lnTo>
                        <a:pt x="392" y="82"/>
                      </a:lnTo>
                      <a:lnTo>
                        <a:pt x="408" y="96"/>
                      </a:lnTo>
                      <a:lnTo>
                        <a:pt x="422" y="112"/>
                      </a:lnTo>
                      <a:lnTo>
                        <a:pt x="435" y="128"/>
                      </a:lnTo>
                      <a:lnTo>
                        <a:pt x="446" y="147"/>
                      </a:lnTo>
                      <a:lnTo>
                        <a:pt x="456" y="166"/>
                      </a:lnTo>
                      <a:lnTo>
                        <a:pt x="462" y="186"/>
                      </a:lnTo>
                      <a:lnTo>
                        <a:pt x="468" y="207"/>
                      </a:lnTo>
                      <a:lnTo>
                        <a:pt x="470" y="219"/>
                      </a:lnTo>
                      <a:lnTo>
                        <a:pt x="472" y="230"/>
                      </a:lnTo>
                      <a:lnTo>
                        <a:pt x="472" y="240"/>
                      </a:lnTo>
                      <a:lnTo>
                        <a:pt x="473" y="252"/>
                      </a:lnTo>
                      <a:lnTo>
                        <a:pt x="472" y="263"/>
                      </a:lnTo>
                      <a:lnTo>
                        <a:pt x="472" y="274"/>
                      </a:lnTo>
                      <a:lnTo>
                        <a:pt x="470" y="286"/>
                      </a:lnTo>
                      <a:lnTo>
                        <a:pt x="468" y="297"/>
                      </a:lnTo>
                      <a:lnTo>
                        <a:pt x="462" y="317"/>
                      </a:lnTo>
                      <a:lnTo>
                        <a:pt x="456" y="338"/>
                      </a:lnTo>
                      <a:lnTo>
                        <a:pt x="446" y="357"/>
                      </a:lnTo>
                      <a:lnTo>
                        <a:pt x="435" y="375"/>
                      </a:lnTo>
                      <a:lnTo>
                        <a:pt x="422" y="392"/>
                      </a:lnTo>
                      <a:lnTo>
                        <a:pt x="408" y="408"/>
                      </a:lnTo>
                      <a:lnTo>
                        <a:pt x="392" y="422"/>
                      </a:lnTo>
                      <a:lnTo>
                        <a:pt x="376" y="435"/>
                      </a:lnTo>
                      <a:lnTo>
                        <a:pt x="357" y="446"/>
                      </a:lnTo>
                      <a:lnTo>
                        <a:pt x="338" y="455"/>
                      </a:lnTo>
                      <a:lnTo>
                        <a:pt x="317" y="463"/>
                      </a:lnTo>
                      <a:lnTo>
                        <a:pt x="297" y="468"/>
                      </a:lnTo>
                      <a:lnTo>
                        <a:pt x="286" y="469"/>
                      </a:lnTo>
                      <a:lnTo>
                        <a:pt x="274" y="472"/>
                      </a:lnTo>
                      <a:lnTo>
                        <a:pt x="263" y="473"/>
                      </a:lnTo>
                      <a:lnTo>
                        <a:pt x="252" y="473"/>
                      </a:lnTo>
                      <a:lnTo>
                        <a:pt x="252" y="473"/>
                      </a:lnTo>
                      <a:close/>
                      <a:moveTo>
                        <a:pt x="252" y="0"/>
                      </a:moveTo>
                      <a:lnTo>
                        <a:pt x="239" y="1"/>
                      </a:lnTo>
                      <a:lnTo>
                        <a:pt x="227" y="1"/>
                      </a:lnTo>
                      <a:lnTo>
                        <a:pt x="214" y="3"/>
                      </a:lnTo>
                      <a:lnTo>
                        <a:pt x="201" y="5"/>
                      </a:lnTo>
                      <a:lnTo>
                        <a:pt x="189" y="8"/>
                      </a:lnTo>
                      <a:lnTo>
                        <a:pt x="177" y="12"/>
                      </a:lnTo>
                      <a:lnTo>
                        <a:pt x="165" y="15"/>
                      </a:lnTo>
                      <a:lnTo>
                        <a:pt x="154" y="20"/>
                      </a:lnTo>
                      <a:lnTo>
                        <a:pt x="142" y="24"/>
                      </a:lnTo>
                      <a:lnTo>
                        <a:pt x="132" y="30"/>
                      </a:lnTo>
                      <a:lnTo>
                        <a:pt x="121" y="36"/>
                      </a:lnTo>
                      <a:lnTo>
                        <a:pt x="111" y="43"/>
                      </a:lnTo>
                      <a:lnTo>
                        <a:pt x="101" y="50"/>
                      </a:lnTo>
                      <a:lnTo>
                        <a:pt x="92" y="58"/>
                      </a:lnTo>
                      <a:lnTo>
                        <a:pt x="83" y="66"/>
                      </a:lnTo>
                      <a:lnTo>
                        <a:pt x="73" y="74"/>
                      </a:lnTo>
                      <a:lnTo>
                        <a:pt x="66" y="83"/>
                      </a:lnTo>
                      <a:lnTo>
                        <a:pt x="57" y="91"/>
                      </a:lnTo>
                      <a:lnTo>
                        <a:pt x="50" y="101"/>
                      </a:lnTo>
                      <a:lnTo>
                        <a:pt x="43" y="111"/>
                      </a:lnTo>
                      <a:lnTo>
                        <a:pt x="37" y="122"/>
                      </a:lnTo>
                      <a:lnTo>
                        <a:pt x="30" y="131"/>
                      </a:lnTo>
                      <a:lnTo>
                        <a:pt x="25" y="142"/>
                      </a:lnTo>
                      <a:lnTo>
                        <a:pt x="19" y="154"/>
                      </a:lnTo>
                      <a:lnTo>
                        <a:pt x="15" y="165"/>
                      </a:lnTo>
                      <a:lnTo>
                        <a:pt x="12" y="177"/>
                      </a:lnTo>
                      <a:lnTo>
                        <a:pt x="7" y="189"/>
                      </a:lnTo>
                      <a:lnTo>
                        <a:pt x="5" y="202"/>
                      </a:lnTo>
                      <a:lnTo>
                        <a:pt x="3" y="213"/>
                      </a:lnTo>
                      <a:lnTo>
                        <a:pt x="1" y="226"/>
                      </a:lnTo>
                      <a:lnTo>
                        <a:pt x="0" y="239"/>
                      </a:lnTo>
                      <a:lnTo>
                        <a:pt x="0" y="252"/>
                      </a:lnTo>
                      <a:lnTo>
                        <a:pt x="0" y="265"/>
                      </a:lnTo>
                      <a:lnTo>
                        <a:pt x="1" y="277"/>
                      </a:lnTo>
                      <a:lnTo>
                        <a:pt x="3" y="290"/>
                      </a:lnTo>
                      <a:lnTo>
                        <a:pt x="5" y="303"/>
                      </a:lnTo>
                      <a:lnTo>
                        <a:pt x="7" y="315"/>
                      </a:lnTo>
                      <a:lnTo>
                        <a:pt x="12" y="327"/>
                      </a:lnTo>
                      <a:lnTo>
                        <a:pt x="15" y="339"/>
                      </a:lnTo>
                      <a:lnTo>
                        <a:pt x="19" y="350"/>
                      </a:lnTo>
                      <a:lnTo>
                        <a:pt x="25" y="361"/>
                      </a:lnTo>
                      <a:lnTo>
                        <a:pt x="30" y="372"/>
                      </a:lnTo>
                      <a:lnTo>
                        <a:pt x="37" y="383"/>
                      </a:lnTo>
                      <a:lnTo>
                        <a:pt x="43" y="393"/>
                      </a:lnTo>
                      <a:lnTo>
                        <a:pt x="50" y="402"/>
                      </a:lnTo>
                      <a:lnTo>
                        <a:pt x="57" y="412"/>
                      </a:lnTo>
                      <a:lnTo>
                        <a:pt x="66" y="421"/>
                      </a:lnTo>
                      <a:lnTo>
                        <a:pt x="73" y="431"/>
                      </a:lnTo>
                      <a:lnTo>
                        <a:pt x="83" y="438"/>
                      </a:lnTo>
                      <a:lnTo>
                        <a:pt x="92" y="447"/>
                      </a:lnTo>
                      <a:lnTo>
                        <a:pt x="101" y="454"/>
                      </a:lnTo>
                      <a:lnTo>
                        <a:pt x="111" y="461"/>
                      </a:lnTo>
                      <a:lnTo>
                        <a:pt x="121" y="467"/>
                      </a:lnTo>
                      <a:lnTo>
                        <a:pt x="132" y="474"/>
                      </a:lnTo>
                      <a:lnTo>
                        <a:pt x="142" y="479"/>
                      </a:lnTo>
                      <a:lnTo>
                        <a:pt x="154" y="485"/>
                      </a:lnTo>
                      <a:lnTo>
                        <a:pt x="165" y="489"/>
                      </a:lnTo>
                      <a:lnTo>
                        <a:pt x="177" y="492"/>
                      </a:lnTo>
                      <a:lnTo>
                        <a:pt x="189" y="496"/>
                      </a:lnTo>
                      <a:lnTo>
                        <a:pt x="201" y="499"/>
                      </a:lnTo>
                      <a:lnTo>
                        <a:pt x="214" y="501"/>
                      </a:lnTo>
                      <a:lnTo>
                        <a:pt x="227" y="503"/>
                      </a:lnTo>
                      <a:lnTo>
                        <a:pt x="239" y="504"/>
                      </a:lnTo>
                      <a:lnTo>
                        <a:pt x="252" y="504"/>
                      </a:lnTo>
                      <a:lnTo>
                        <a:pt x="265" y="504"/>
                      </a:lnTo>
                      <a:lnTo>
                        <a:pt x="277" y="503"/>
                      </a:lnTo>
                      <a:lnTo>
                        <a:pt x="290" y="501"/>
                      </a:lnTo>
                      <a:lnTo>
                        <a:pt x="302" y="499"/>
                      </a:lnTo>
                      <a:lnTo>
                        <a:pt x="315" y="496"/>
                      </a:lnTo>
                      <a:lnTo>
                        <a:pt x="327" y="492"/>
                      </a:lnTo>
                      <a:lnTo>
                        <a:pt x="339" y="489"/>
                      </a:lnTo>
                      <a:lnTo>
                        <a:pt x="350" y="485"/>
                      </a:lnTo>
                      <a:lnTo>
                        <a:pt x="362" y="479"/>
                      </a:lnTo>
                      <a:lnTo>
                        <a:pt x="373" y="474"/>
                      </a:lnTo>
                      <a:lnTo>
                        <a:pt x="382" y="467"/>
                      </a:lnTo>
                      <a:lnTo>
                        <a:pt x="393" y="461"/>
                      </a:lnTo>
                      <a:lnTo>
                        <a:pt x="403" y="454"/>
                      </a:lnTo>
                      <a:lnTo>
                        <a:pt x="412" y="447"/>
                      </a:lnTo>
                      <a:lnTo>
                        <a:pt x="421" y="438"/>
                      </a:lnTo>
                      <a:lnTo>
                        <a:pt x="430" y="431"/>
                      </a:lnTo>
                      <a:lnTo>
                        <a:pt x="438" y="421"/>
                      </a:lnTo>
                      <a:lnTo>
                        <a:pt x="446" y="412"/>
                      </a:lnTo>
                      <a:lnTo>
                        <a:pt x="454" y="402"/>
                      </a:lnTo>
                      <a:lnTo>
                        <a:pt x="461" y="393"/>
                      </a:lnTo>
                      <a:lnTo>
                        <a:pt x="468" y="383"/>
                      </a:lnTo>
                      <a:lnTo>
                        <a:pt x="474" y="372"/>
                      </a:lnTo>
                      <a:lnTo>
                        <a:pt x="479" y="361"/>
                      </a:lnTo>
                      <a:lnTo>
                        <a:pt x="484" y="350"/>
                      </a:lnTo>
                      <a:lnTo>
                        <a:pt x="489" y="339"/>
                      </a:lnTo>
                      <a:lnTo>
                        <a:pt x="492" y="327"/>
                      </a:lnTo>
                      <a:lnTo>
                        <a:pt x="496" y="315"/>
                      </a:lnTo>
                      <a:lnTo>
                        <a:pt x="499" y="303"/>
                      </a:lnTo>
                      <a:lnTo>
                        <a:pt x="501" y="290"/>
                      </a:lnTo>
                      <a:lnTo>
                        <a:pt x="503" y="277"/>
                      </a:lnTo>
                      <a:lnTo>
                        <a:pt x="503" y="265"/>
                      </a:lnTo>
                      <a:lnTo>
                        <a:pt x="504" y="252"/>
                      </a:lnTo>
                      <a:lnTo>
                        <a:pt x="503" y="239"/>
                      </a:lnTo>
                      <a:lnTo>
                        <a:pt x="503" y="226"/>
                      </a:lnTo>
                      <a:lnTo>
                        <a:pt x="501" y="213"/>
                      </a:lnTo>
                      <a:lnTo>
                        <a:pt x="499" y="202"/>
                      </a:lnTo>
                      <a:lnTo>
                        <a:pt x="496" y="189"/>
                      </a:lnTo>
                      <a:lnTo>
                        <a:pt x="492" y="177"/>
                      </a:lnTo>
                      <a:lnTo>
                        <a:pt x="489" y="165"/>
                      </a:lnTo>
                      <a:lnTo>
                        <a:pt x="484" y="154"/>
                      </a:lnTo>
                      <a:lnTo>
                        <a:pt x="479" y="142"/>
                      </a:lnTo>
                      <a:lnTo>
                        <a:pt x="474" y="131"/>
                      </a:lnTo>
                      <a:lnTo>
                        <a:pt x="468" y="122"/>
                      </a:lnTo>
                      <a:lnTo>
                        <a:pt x="461" y="111"/>
                      </a:lnTo>
                      <a:lnTo>
                        <a:pt x="454" y="101"/>
                      </a:lnTo>
                      <a:lnTo>
                        <a:pt x="446" y="91"/>
                      </a:lnTo>
                      <a:lnTo>
                        <a:pt x="438" y="83"/>
                      </a:lnTo>
                      <a:lnTo>
                        <a:pt x="430" y="74"/>
                      </a:lnTo>
                      <a:lnTo>
                        <a:pt x="421" y="66"/>
                      </a:lnTo>
                      <a:lnTo>
                        <a:pt x="412" y="58"/>
                      </a:lnTo>
                      <a:lnTo>
                        <a:pt x="403" y="50"/>
                      </a:lnTo>
                      <a:lnTo>
                        <a:pt x="393" y="43"/>
                      </a:lnTo>
                      <a:lnTo>
                        <a:pt x="382" y="36"/>
                      </a:lnTo>
                      <a:lnTo>
                        <a:pt x="373" y="30"/>
                      </a:lnTo>
                      <a:lnTo>
                        <a:pt x="362" y="24"/>
                      </a:lnTo>
                      <a:lnTo>
                        <a:pt x="350" y="20"/>
                      </a:lnTo>
                      <a:lnTo>
                        <a:pt x="339" y="15"/>
                      </a:lnTo>
                      <a:lnTo>
                        <a:pt x="327" y="12"/>
                      </a:lnTo>
                      <a:lnTo>
                        <a:pt x="315" y="8"/>
                      </a:lnTo>
                      <a:lnTo>
                        <a:pt x="302" y="5"/>
                      </a:lnTo>
                      <a:lnTo>
                        <a:pt x="290" y="3"/>
                      </a:lnTo>
                      <a:lnTo>
                        <a:pt x="277" y="1"/>
                      </a:lnTo>
                      <a:lnTo>
                        <a:pt x="265" y="1"/>
                      </a:lnTo>
                      <a:lnTo>
                        <a:pt x="2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126">
                  <a:extLst>
                    <a:ext uri="{FF2B5EF4-FFF2-40B4-BE49-F238E27FC236}">
                      <a16:creationId xmlns:a16="http://schemas.microsoft.com/office/drawing/2014/main" id="{BFBC74EA-85F4-189B-0DAF-AA8AEED220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34718" y="2925365"/>
                  <a:ext cx="114300" cy="114300"/>
                </a:xfrm>
                <a:custGeom>
                  <a:avLst/>
                  <a:gdLst>
                    <a:gd name="T0" fmla="*/ 122 w 288"/>
                    <a:gd name="T1" fmla="*/ 250 h 288"/>
                    <a:gd name="T2" fmla="*/ 93 w 288"/>
                    <a:gd name="T3" fmla="*/ 239 h 288"/>
                    <a:gd name="T4" fmla="*/ 68 w 288"/>
                    <a:gd name="T5" fmla="*/ 220 h 288"/>
                    <a:gd name="T6" fmla="*/ 50 w 288"/>
                    <a:gd name="T7" fmla="*/ 195 h 288"/>
                    <a:gd name="T8" fmla="*/ 38 w 288"/>
                    <a:gd name="T9" fmla="*/ 166 h 288"/>
                    <a:gd name="T10" fmla="*/ 37 w 288"/>
                    <a:gd name="T11" fmla="*/ 132 h 288"/>
                    <a:gd name="T12" fmla="*/ 44 w 288"/>
                    <a:gd name="T13" fmla="*/ 102 h 288"/>
                    <a:gd name="T14" fmla="*/ 60 w 288"/>
                    <a:gd name="T15" fmla="*/ 75 h 288"/>
                    <a:gd name="T16" fmla="*/ 84 w 288"/>
                    <a:gd name="T17" fmla="*/ 55 h 288"/>
                    <a:gd name="T18" fmla="*/ 112 w 288"/>
                    <a:gd name="T19" fmla="*/ 41 h 288"/>
                    <a:gd name="T20" fmla="*/ 144 w 288"/>
                    <a:gd name="T21" fmla="*/ 36 h 288"/>
                    <a:gd name="T22" fmla="*/ 176 w 288"/>
                    <a:gd name="T23" fmla="*/ 41 h 288"/>
                    <a:gd name="T24" fmla="*/ 204 w 288"/>
                    <a:gd name="T25" fmla="*/ 55 h 288"/>
                    <a:gd name="T26" fmla="*/ 228 w 288"/>
                    <a:gd name="T27" fmla="*/ 75 h 288"/>
                    <a:gd name="T28" fmla="*/ 244 w 288"/>
                    <a:gd name="T29" fmla="*/ 102 h 288"/>
                    <a:gd name="T30" fmla="*/ 252 w 288"/>
                    <a:gd name="T31" fmla="*/ 132 h 288"/>
                    <a:gd name="T32" fmla="*/ 249 w 288"/>
                    <a:gd name="T33" fmla="*/ 166 h 288"/>
                    <a:gd name="T34" fmla="*/ 239 w 288"/>
                    <a:gd name="T35" fmla="*/ 195 h 288"/>
                    <a:gd name="T36" fmla="*/ 220 w 288"/>
                    <a:gd name="T37" fmla="*/ 220 h 288"/>
                    <a:gd name="T38" fmla="*/ 195 w 288"/>
                    <a:gd name="T39" fmla="*/ 239 h 288"/>
                    <a:gd name="T40" fmla="*/ 166 w 288"/>
                    <a:gd name="T41" fmla="*/ 250 h 288"/>
                    <a:gd name="T42" fmla="*/ 144 w 288"/>
                    <a:gd name="T43" fmla="*/ 252 h 288"/>
                    <a:gd name="T44" fmla="*/ 115 w 288"/>
                    <a:gd name="T45" fmla="*/ 3 h 288"/>
                    <a:gd name="T46" fmla="*/ 76 w 288"/>
                    <a:gd name="T47" fmla="*/ 17 h 288"/>
                    <a:gd name="T48" fmla="*/ 42 w 288"/>
                    <a:gd name="T49" fmla="*/ 42 h 288"/>
                    <a:gd name="T50" fmla="*/ 17 w 288"/>
                    <a:gd name="T51" fmla="*/ 75 h 288"/>
                    <a:gd name="T52" fmla="*/ 3 w 288"/>
                    <a:gd name="T53" fmla="*/ 115 h 288"/>
                    <a:gd name="T54" fmla="*/ 1 w 288"/>
                    <a:gd name="T55" fmla="*/ 158 h 288"/>
                    <a:gd name="T56" fmla="*/ 12 w 288"/>
                    <a:gd name="T57" fmla="*/ 201 h 288"/>
                    <a:gd name="T58" fmla="*/ 33 w 288"/>
                    <a:gd name="T59" fmla="*/ 235 h 288"/>
                    <a:gd name="T60" fmla="*/ 64 w 288"/>
                    <a:gd name="T61" fmla="*/ 263 h 288"/>
                    <a:gd name="T62" fmla="*/ 101 w 288"/>
                    <a:gd name="T63" fmla="*/ 282 h 288"/>
                    <a:gd name="T64" fmla="*/ 144 w 288"/>
                    <a:gd name="T65" fmla="*/ 288 h 288"/>
                    <a:gd name="T66" fmla="*/ 187 w 288"/>
                    <a:gd name="T67" fmla="*/ 282 h 288"/>
                    <a:gd name="T68" fmla="*/ 225 w 288"/>
                    <a:gd name="T69" fmla="*/ 263 h 288"/>
                    <a:gd name="T70" fmla="*/ 255 w 288"/>
                    <a:gd name="T71" fmla="*/ 235 h 288"/>
                    <a:gd name="T72" fmla="*/ 276 w 288"/>
                    <a:gd name="T73" fmla="*/ 201 h 288"/>
                    <a:gd name="T74" fmla="*/ 287 w 288"/>
                    <a:gd name="T75" fmla="*/ 158 h 288"/>
                    <a:gd name="T76" fmla="*/ 285 w 288"/>
                    <a:gd name="T77" fmla="*/ 115 h 288"/>
                    <a:gd name="T78" fmla="*/ 271 w 288"/>
                    <a:gd name="T79" fmla="*/ 75 h 288"/>
                    <a:gd name="T80" fmla="*/ 246 w 288"/>
                    <a:gd name="T81" fmla="*/ 42 h 288"/>
                    <a:gd name="T82" fmla="*/ 213 w 288"/>
                    <a:gd name="T83" fmla="*/ 17 h 288"/>
                    <a:gd name="T84" fmla="*/ 173 w 288"/>
                    <a:gd name="T85" fmla="*/ 3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8" h="288">
                      <a:moveTo>
                        <a:pt x="144" y="252"/>
                      </a:moveTo>
                      <a:lnTo>
                        <a:pt x="133" y="251"/>
                      </a:lnTo>
                      <a:lnTo>
                        <a:pt x="122" y="250"/>
                      </a:lnTo>
                      <a:lnTo>
                        <a:pt x="112" y="247"/>
                      </a:lnTo>
                      <a:lnTo>
                        <a:pt x="103" y="244"/>
                      </a:lnTo>
                      <a:lnTo>
                        <a:pt x="93" y="239"/>
                      </a:lnTo>
                      <a:lnTo>
                        <a:pt x="84" y="234"/>
                      </a:lnTo>
                      <a:lnTo>
                        <a:pt x="76" y="228"/>
                      </a:lnTo>
                      <a:lnTo>
                        <a:pt x="68" y="220"/>
                      </a:lnTo>
                      <a:lnTo>
                        <a:pt x="60" y="212"/>
                      </a:lnTo>
                      <a:lnTo>
                        <a:pt x="55" y="205"/>
                      </a:lnTo>
                      <a:lnTo>
                        <a:pt x="50" y="195"/>
                      </a:lnTo>
                      <a:lnTo>
                        <a:pt x="44" y="186"/>
                      </a:lnTo>
                      <a:lnTo>
                        <a:pt x="41" y="176"/>
                      </a:lnTo>
                      <a:lnTo>
                        <a:pt x="38" y="166"/>
                      </a:lnTo>
                      <a:lnTo>
                        <a:pt x="37" y="155"/>
                      </a:lnTo>
                      <a:lnTo>
                        <a:pt x="36" y="144"/>
                      </a:lnTo>
                      <a:lnTo>
                        <a:pt x="37" y="132"/>
                      </a:lnTo>
                      <a:lnTo>
                        <a:pt x="38" y="122"/>
                      </a:lnTo>
                      <a:lnTo>
                        <a:pt x="41" y="112"/>
                      </a:lnTo>
                      <a:lnTo>
                        <a:pt x="44" y="102"/>
                      </a:lnTo>
                      <a:lnTo>
                        <a:pt x="50" y="93"/>
                      </a:lnTo>
                      <a:lnTo>
                        <a:pt x="55" y="84"/>
                      </a:lnTo>
                      <a:lnTo>
                        <a:pt x="60" y="75"/>
                      </a:lnTo>
                      <a:lnTo>
                        <a:pt x="68" y="68"/>
                      </a:lnTo>
                      <a:lnTo>
                        <a:pt x="76" y="60"/>
                      </a:lnTo>
                      <a:lnTo>
                        <a:pt x="84" y="55"/>
                      </a:lnTo>
                      <a:lnTo>
                        <a:pt x="93" y="49"/>
                      </a:lnTo>
                      <a:lnTo>
                        <a:pt x="103" y="44"/>
                      </a:lnTo>
                      <a:lnTo>
                        <a:pt x="112" y="41"/>
                      </a:lnTo>
                      <a:lnTo>
                        <a:pt x="122" y="39"/>
                      </a:lnTo>
                      <a:lnTo>
                        <a:pt x="133" y="36"/>
                      </a:lnTo>
                      <a:lnTo>
                        <a:pt x="144" y="36"/>
                      </a:lnTo>
                      <a:lnTo>
                        <a:pt x="155" y="36"/>
                      </a:lnTo>
                      <a:lnTo>
                        <a:pt x="166" y="39"/>
                      </a:lnTo>
                      <a:lnTo>
                        <a:pt x="176" y="41"/>
                      </a:lnTo>
                      <a:lnTo>
                        <a:pt x="186" y="44"/>
                      </a:lnTo>
                      <a:lnTo>
                        <a:pt x="195" y="49"/>
                      </a:lnTo>
                      <a:lnTo>
                        <a:pt x="204" y="55"/>
                      </a:lnTo>
                      <a:lnTo>
                        <a:pt x="213" y="60"/>
                      </a:lnTo>
                      <a:lnTo>
                        <a:pt x="220" y="68"/>
                      </a:lnTo>
                      <a:lnTo>
                        <a:pt x="228" y="75"/>
                      </a:lnTo>
                      <a:lnTo>
                        <a:pt x="233" y="84"/>
                      </a:lnTo>
                      <a:lnTo>
                        <a:pt x="239" y="93"/>
                      </a:lnTo>
                      <a:lnTo>
                        <a:pt x="244" y="102"/>
                      </a:lnTo>
                      <a:lnTo>
                        <a:pt x="247" y="112"/>
                      </a:lnTo>
                      <a:lnTo>
                        <a:pt x="249" y="122"/>
                      </a:lnTo>
                      <a:lnTo>
                        <a:pt x="252" y="132"/>
                      </a:lnTo>
                      <a:lnTo>
                        <a:pt x="252" y="144"/>
                      </a:lnTo>
                      <a:lnTo>
                        <a:pt x="252" y="155"/>
                      </a:lnTo>
                      <a:lnTo>
                        <a:pt x="249" y="166"/>
                      </a:lnTo>
                      <a:lnTo>
                        <a:pt x="247" y="176"/>
                      </a:lnTo>
                      <a:lnTo>
                        <a:pt x="244" y="186"/>
                      </a:lnTo>
                      <a:lnTo>
                        <a:pt x="239" y="195"/>
                      </a:lnTo>
                      <a:lnTo>
                        <a:pt x="233" y="205"/>
                      </a:lnTo>
                      <a:lnTo>
                        <a:pt x="228" y="212"/>
                      </a:lnTo>
                      <a:lnTo>
                        <a:pt x="220" y="220"/>
                      </a:lnTo>
                      <a:lnTo>
                        <a:pt x="213" y="228"/>
                      </a:lnTo>
                      <a:lnTo>
                        <a:pt x="204" y="234"/>
                      </a:lnTo>
                      <a:lnTo>
                        <a:pt x="195" y="239"/>
                      </a:lnTo>
                      <a:lnTo>
                        <a:pt x="186" y="244"/>
                      </a:lnTo>
                      <a:lnTo>
                        <a:pt x="176" y="247"/>
                      </a:lnTo>
                      <a:lnTo>
                        <a:pt x="166" y="250"/>
                      </a:lnTo>
                      <a:lnTo>
                        <a:pt x="155" y="251"/>
                      </a:lnTo>
                      <a:lnTo>
                        <a:pt x="144" y="252"/>
                      </a:lnTo>
                      <a:lnTo>
                        <a:pt x="144" y="252"/>
                      </a:lnTo>
                      <a:close/>
                      <a:moveTo>
                        <a:pt x="144" y="0"/>
                      </a:moveTo>
                      <a:lnTo>
                        <a:pt x="130" y="1"/>
                      </a:lnTo>
                      <a:lnTo>
                        <a:pt x="115" y="3"/>
                      </a:lnTo>
                      <a:lnTo>
                        <a:pt x="101" y="6"/>
                      </a:lnTo>
                      <a:lnTo>
                        <a:pt x="88" y="12"/>
                      </a:lnTo>
                      <a:lnTo>
                        <a:pt x="76" y="17"/>
                      </a:lnTo>
                      <a:lnTo>
                        <a:pt x="64" y="24"/>
                      </a:lnTo>
                      <a:lnTo>
                        <a:pt x="53" y="33"/>
                      </a:lnTo>
                      <a:lnTo>
                        <a:pt x="42" y="42"/>
                      </a:lnTo>
                      <a:lnTo>
                        <a:pt x="33" y="53"/>
                      </a:lnTo>
                      <a:lnTo>
                        <a:pt x="25" y="63"/>
                      </a:lnTo>
                      <a:lnTo>
                        <a:pt x="17" y="75"/>
                      </a:lnTo>
                      <a:lnTo>
                        <a:pt x="12" y="88"/>
                      </a:lnTo>
                      <a:lnTo>
                        <a:pt x="6" y="101"/>
                      </a:lnTo>
                      <a:lnTo>
                        <a:pt x="3" y="115"/>
                      </a:lnTo>
                      <a:lnTo>
                        <a:pt x="1" y="129"/>
                      </a:lnTo>
                      <a:lnTo>
                        <a:pt x="0" y="144"/>
                      </a:lnTo>
                      <a:lnTo>
                        <a:pt x="1" y="158"/>
                      </a:lnTo>
                      <a:lnTo>
                        <a:pt x="3" y="174"/>
                      </a:lnTo>
                      <a:lnTo>
                        <a:pt x="6" y="186"/>
                      </a:lnTo>
                      <a:lnTo>
                        <a:pt x="12" y="201"/>
                      </a:lnTo>
                      <a:lnTo>
                        <a:pt x="17" y="212"/>
                      </a:lnTo>
                      <a:lnTo>
                        <a:pt x="25" y="224"/>
                      </a:lnTo>
                      <a:lnTo>
                        <a:pt x="33" y="235"/>
                      </a:lnTo>
                      <a:lnTo>
                        <a:pt x="42" y="246"/>
                      </a:lnTo>
                      <a:lnTo>
                        <a:pt x="53" y="256"/>
                      </a:lnTo>
                      <a:lnTo>
                        <a:pt x="64" y="263"/>
                      </a:lnTo>
                      <a:lnTo>
                        <a:pt x="76" y="271"/>
                      </a:lnTo>
                      <a:lnTo>
                        <a:pt x="88" y="276"/>
                      </a:lnTo>
                      <a:lnTo>
                        <a:pt x="101" y="282"/>
                      </a:lnTo>
                      <a:lnTo>
                        <a:pt x="115" y="285"/>
                      </a:lnTo>
                      <a:lnTo>
                        <a:pt x="130" y="287"/>
                      </a:lnTo>
                      <a:lnTo>
                        <a:pt x="144" y="288"/>
                      </a:lnTo>
                      <a:lnTo>
                        <a:pt x="159" y="287"/>
                      </a:lnTo>
                      <a:lnTo>
                        <a:pt x="173" y="285"/>
                      </a:lnTo>
                      <a:lnTo>
                        <a:pt x="187" y="282"/>
                      </a:lnTo>
                      <a:lnTo>
                        <a:pt x="200" y="276"/>
                      </a:lnTo>
                      <a:lnTo>
                        <a:pt x="213" y="271"/>
                      </a:lnTo>
                      <a:lnTo>
                        <a:pt x="225" y="263"/>
                      </a:lnTo>
                      <a:lnTo>
                        <a:pt x="235" y="256"/>
                      </a:lnTo>
                      <a:lnTo>
                        <a:pt x="246" y="246"/>
                      </a:lnTo>
                      <a:lnTo>
                        <a:pt x="255" y="235"/>
                      </a:lnTo>
                      <a:lnTo>
                        <a:pt x="263" y="224"/>
                      </a:lnTo>
                      <a:lnTo>
                        <a:pt x="271" y="212"/>
                      </a:lnTo>
                      <a:lnTo>
                        <a:pt x="276" y="201"/>
                      </a:lnTo>
                      <a:lnTo>
                        <a:pt x="282" y="186"/>
                      </a:lnTo>
                      <a:lnTo>
                        <a:pt x="285" y="174"/>
                      </a:lnTo>
                      <a:lnTo>
                        <a:pt x="287" y="158"/>
                      </a:lnTo>
                      <a:lnTo>
                        <a:pt x="288" y="144"/>
                      </a:lnTo>
                      <a:lnTo>
                        <a:pt x="287" y="129"/>
                      </a:lnTo>
                      <a:lnTo>
                        <a:pt x="285" y="115"/>
                      </a:lnTo>
                      <a:lnTo>
                        <a:pt x="282" y="101"/>
                      </a:lnTo>
                      <a:lnTo>
                        <a:pt x="276" y="88"/>
                      </a:lnTo>
                      <a:lnTo>
                        <a:pt x="271" y="75"/>
                      </a:lnTo>
                      <a:lnTo>
                        <a:pt x="263" y="63"/>
                      </a:lnTo>
                      <a:lnTo>
                        <a:pt x="255" y="53"/>
                      </a:lnTo>
                      <a:lnTo>
                        <a:pt x="246" y="42"/>
                      </a:lnTo>
                      <a:lnTo>
                        <a:pt x="235" y="33"/>
                      </a:lnTo>
                      <a:lnTo>
                        <a:pt x="225" y="24"/>
                      </a:lnTo>
                      <a:lnTo>
                        <a:pt x="213" y="17"/>
                      </a:lnTo>
                      <a:lnTo>
                        <a:pt x="200" y="12"/>
                      </a:lnTo>
                      <a:lnTo>
                        <a:pt x="187" y="6"/>
                      </a:lnTo>
                      <a:lnTo>
                        <a:pt x="173" y="3"/>
                      </a:lnTo>
                      <a:lnTo>
                        <a:pt x="159" y="1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8199B667-D109-94DD-5512-E280CCD5D26E}"/>
                </a:ext>
              </a:extLst>
            </p:cNvPr>
            <p:cNvSpPr txBox="1"/>
            <p:nvPr/>
          </p:nvSpPr>
          <p:spPr>
            <a:xfrm>
              <a:off x="1959727" y="3628998"/>
              <a:ext cx="3929629" cy="6009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点击按钮进入游戏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32" name="TextBox 7">
              <a:extLst>
                <a:ext uri="{FF2B5EF4-FFF2-40B4-BE49-F238E27FC236}">
                  <a16:creationId xmlns:a16="http://schemas.microsoft.com/office/drawing/2014/main" id="{713175D3-981B-23AE-046A-B5CA5BAA3B35}"/>
                </a:ext>
              </a:extLst>
            </p:cNvPr>
            <p:cNvSpPr txBox="1"/>
            <p:nvPr/>
          </p:nvSpPr>
          <p:spPr>
            <a:xfrm>
              <a:off x="1942888" y="3322893"/>
              <a:ext cx="2396714" cy="70609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开始游戏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6012166-FF02-5D69-4605-EE43A45668AE}"/>
              </a:ext>
            </a:extLst>
          </p:cNvPr>
          <p:cNvGrpSpPr/>
          <p:nvPr/>
        </p:nvGrpSpPr>
        <p:grpSpPr>
          <a:xfrm>
            <a:off x="7750551" y="4439033"/>
            <a:ext cx="3825581" cy="695823"/>
            <a:chOff x="1093000" y="4777595"/>
            <a:chExt cx="4873847" cy="904636"/>
          </a:xfrm>
        </p:grpSpPr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8B4500D2-C3C2-DDC1-37DC-593559BE0165}"/>
                </a:ext>
              </a:extLst>
            </p:cNvPr>
            <p:cNvGrpSpPr/>
            <p:nvPr/>
          </p:nvGrpSpPr>
          <p:grpSpPr>
            <a:xfrm>
              <a:off x="1093000" y="4831206"/>
              <a:ext cx="723775" cy="723775"/>
              <a:chOff x="4145858" y="4504616"/>
              <a:chExt cx="723775" cy="723775"/>
            </a:xfrm>
          </p:grpSpPr>
          <p:sp>
            <p:nvSpPr>
              <p:cNvPr id="42" name="Oval 26">
                <a:extLst>
                  <a:ext uri="{FF2B5EF4-FFF2-40B4-BE49-F238E27FC236}">
                    <a16:creationId xmlns:a16="http://schemas.microsoft.com/office/drawing/2014/main" id="{98AD3A00-13AE-B344-E93F-86FC652B6B50}"/>
                  </a:ext>
                </a:extLst>
              </p:cNvPr>
              <p:cNvSpPr/>
              <p:nvPr/>
            </p:nvSpPr>
            <p:spPr>
              <a:xfrm>
                <a:off x="4145858" y="4504616"/>
                <a:ext cx="723775" cy="723775"/>
              </a:xfrm>
              <a:prstGeom prst="ellipse">
                <a:avLst/>
              </a:prstGeom>
              <a:solidFill>
                <a:srgbClr val="78BC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思源宋体 CN Medium" panose="02020500000000000000" pitchFamily="18" charset="-122"/>
                  <a:ea typeface="+mn-ea"/>
                  <a:cs typeface="+mn-cs"/>
                </a:endParaRPr>
              </a:p>
            </p:txBody>
          </p:sp>
          <p:grpSp>
            <p:nvGrpSpPr>
              <p:cNvPr id="43" name="Group 18">
                <a:extLst>
                  <a:ext uri="{FF2B5EF4-FFF2-40B4-BE49-F238E27FC236}">
                    <a16:creationId xmlns:a16="http://schemas.microsoft.com/office/drawing/2014/main" id="{AF29A92A-1735-2C9D-BDB0-612C75ABB83C}"/>
                  </a:ext>
                </a:extLst>
              </p:cNvPr>
              <p:cNvGrpSpPr/>
              <p:nvPr/>
            </p:nvGrpSpPr>
            <p:grpSpPr>
              <a:xfrm>
                <a:off x="4279146" y="4630787"/>
                <a:ext cx="457200" cy="457200"/>
                <a:chOff x="8085931" y="1818084"/>
                <a:chExt cx="457200" cy="457200"/>
              </a:xfrm>
              <a:solidFill>
                <a:schemeClr val="bg1"/>
              </a:solidFill>
            </p:grpSpPr>
            <p:sp>
              <p:nvSpPr>
                <p:cNvPr id="378" name="Freeform 82">
                  <a:extLst>
                    <a:ext uri="{FF2B5EF4-FFF2-40B4-BE49-F238E27FC236}">
                      <a16:creationId xmlns:a16="http://schemas.microsoft.com/office/drawing/2014/main" id="{80D1F261-8330-0AA3-B533-5069696D2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85931" y="1818084"/>
                  <a:ext cx="457200" cy="457200"/>
                </a:xfrm>
                <a:custGeom>
                  <a:avLst/>
                  <a:gdLst>
                    <a:gd name="T0" fmla="*/ 1058 w 1152"/>
                    <a:gd name="T1" fmla="*/ 563 h 1152"/>
                    <a:gd name="T2" fmla="*/ 929 w 1152"/>
                    <a:gd name="T3" fmla="*/ 577 h 1152"/>
                    <a:gd name="T4" fmla="*/ 921 w 1152"/>
                    <a:gd name="T5" fmla="*/ 603 h 1152"/>
                    <a:gd name="T6" fmla="*/ 1032 w 1152"/>
                    <a:gd name="T7" fmla="*/ 616 h 1152"/>
                    <a:gd name="T8" fmla="*/ 1063 w 1152"/>
                    <a:gd name="T9" fmla="*/ 658 h 1152"/>
                    <a:gd name="T10" fmla="*/ 1030 w 1152"/>
                    <a:gd name="T11" fmla="*/ 744 h 1152"/>
                    <a:gd name="T12" fmla="*/ 890 w 1152"/>
                    <a:gd name="T13" fmla="*/ 759 h 1152"/>
                    <a:gd name="T14" fmla="*/ 887 w 1152"/>
                    <a:gd name="T15" fmla="*/ 787 h 1152"/>
                    <a:gd name="T16" fmla="*/ 1005 w 1152"/>
                    <a:gd name="T17" fmla="*/ 800 h 1152"/>
                    <a:gd name="T18" fmla="*/ 1020 w 1152"/>
                    <a:gd name="T19" fmla="*/ 855 h 1152"/>
                    <a:gd name="T20" fmla="*/ 983 w 1152"/>
                    <a:gd name="T21" fmla="*/ 923 h 1152"/>
                    <a:gd name="T22" fmla="*/ 857 w 1152"/>
                    <a:gd name="T23" fmla="*/ 937 h 1152"/>
                    <a:gd name="T24" fmla="*/ 849 w 1152"/>
                    <a:gd name="T25" fmla="*/ 964 h 1152"/>
                    <a:gd name="T26" fmla="*/ 939 w 1152"/>
                    <a:gd name="T27" fmla="*/ 975 h 1152"/>
                    <a:gd name="T28" fmla="*/ 957 w 1152"/>
                    <a:gd name="T29" fmla="*/ 1022 h 1152"/>
                    <a:gd name="T30" fmla="*/ 895 w 1152"/>
                    <a:gd name="T31" fmla="*/ 1080 h 1152"/>
                    <a:gd name="T32" fmla="*/ 491 w 1152"/>
                    <a:gd name="T33" fmla="*/ 1058 h 1152"/>
                    <a:gd name="T34" fmla="*/ 319 w 1152"/>
                    <a:gd name="T35" fmla="*/ 1017 h 1152"/>
                    <a:gd name="T36" fmla="*/ 288 w 1152"/>
                    <a:gd name="T37" fmla="*/ 488 h 1152"/>
                    <a:gd name="T38" fmla="*/ 320 w 1152"/>
                    <a:gd name="T39" fmla="*/ 449 h 1152"/>
                    <a:gd name="T40" fmla="*/ 427 w 1152"/>
                    <a:gd name="T41" fmla="*/ 383 h 1152"/>
                    <a:gd name="T42" fmla="*/ 522 w 1152"/>
                    <a:gd name="T43" fmla="*/ 228 h 1152"/>
                    <a:gd name="T44" fmla="*/ 549 w 1152"/>
                    <a:gd name="T45" fmla="*/ 84 h 1152"/>
                    <a:gd name="T46" fmla="*/ 617 w 1152"/>
                    <a:gd name="T47" fmla="*/ 93 h 1152"/>
                    <a:gd name="T48" fmla="*/ 679 w 1152"/>
                    <a:gd name="T49" fmla="*/ 208 h 1152"/>
                    <a:gd name="T50" fmla="*/ 658 w 1152"/>
                    <a:gd name="T51" fmla="*/ 401 h 1152"/>
                    <a:gd name="T52" fmla="*/ 1037 w 1152"/>
                    <a:gd name="T53" fmla="*/ 446 h 1152"/>
                    <a:gd name="T54" fmla="*/ 1079 w 1152"/>
                    <a:gd name="T55" fmla="*/ 495 h 1152"/>
                    <a:gd name="T56" fmla="*/ 236 w 1152"/>
                    <a:gd name="T57" fmla="*/ 1073 h 1152"/>
                    <a:gd name="T58" fmla="*/ 78 w 1152"/>
                    <a:gd name="T59" fmla="*/ 1063 h 1152"/>
                    <a:gd name="T60" fmla="*/ 88 w 1152"/>
                    <a:gd name="T61" fmla="*/ 438 h 1152"/>
                    <a:gd name="T62" fmla="*/ 246 w 1152"/>
                    <a:gd name="T63" fmla="*/ 448 h 1152"/>
                    <a:gd name="T64" fmla="*/ 938 w 1152"/>
                    <a:gd name="T65" fmla="*/ 366 h 1152"/>
                    <a:gd name="T66" fmla="*/ 752 w 1152"/>
                    <a:gd name="T67" fmla="*/ 219 h 1152"/>
                    <a:gd name="T68" fmla="*/ 669 w 1152"/>
                    <a:gd name="T69" fmla="*/ 43 h 1152"/>
                    <a:gd name="T70" fmla="*/ 565 w 1152"/>
                    <a:gd name="T71" fmla="*/ 1 h 1152"/>
                    <a:gd name="T72" fmla="*/ 487 w 1152"/>
                    <a:gd name="T73" fmla="*/ 47 h 1152"/>
                    <a:gd name="T74" fmla="*/ 465 w 1152"/>
                    <a:gd name="T75" fmla="*/ 153 h 1152"/>
                    <a:gd name="T76" fmla="*/ 397 w 1152"/>
                    <a:gd name="T77" fmla="*/ 311 h 1152"/>
                    <a:gd name="T78" fmla="*/ 292 w 1152"/>
                    <a:gd name="T79" fmla="*/ 384 h 1152"/>
                    <a:gd name="T80" fmla="*/ 226 w 1152"/>
                    <a:gd name="T81" fmla="*/ 360 h 1152"/>
                    <a:gd name="T82" fmla="*/ 39 w 1152"/>
                    <a:gd name="T83" fmla="*/ 384 h 1152"/>
                    <a:gd name="T84" fmla="*/ 0 w 1152"/>
                    <a:gd name="T85" fmla="*/ 468 h 1152"/>
                    <a:gd name="T86" fmla="*/ 32 w 1152"/>
                    <a:gd name="T87" fmla="*/ 1121 h 1152"/>
                    <a:gd name="T88" fmla="*/ 216 w 1152"/>
                    <a:gd name="T89" fmla="*/ 1152 h 1152"/>
                    <a:gd name="T90" fmla="*/ 286 w 1152"/>
                    <a:gd name="T91" fmla="*/ 1125 h 1152"/>
                    <a:gd name="T92" fmla="*/ 325 w 1152"/>
                    <a:gd name="T93" fmla="*/ 1093 h 1152"/>
                    <a:gd name="T94" fmla="*/ 578 w 1152"/>
                    <a:gd name="T95" fmla="*/ 1146 h 1152"/>
                    <a:gd name="T96" fmla="*/ 934 w 1152"/>
                    <a:gd name="T97" fmla="*/ 1146 h 1152"/>
                    <a:gd name="T98" fmla="*/ 1001 w 1152"/>
                    <a:gd name="T99" fmla="*/ 1099 h 1152"/>
                    <a:gd name="T100" fmla="*/ 1031 w 1152"/>
                    <a:gd name="T101" fmla="*/ 1006 h 1152"/>
                    <a:gd name="T102" fmla="*/ 1068 w 1152"/>
                    <a:gd name="T103" fmla="*/ 934 h 1152"/>
                    <a:gd name="T104" fmla="*/ 1093 w 1152"/>
                    <a:gd name="T105" fmla="*/ 819 h 1152"/>
                    <a:gd name="T106" fmla="*/ 1127 w 1152"/>
                    <a:gd name="T107" fmla="*/ 722 h 1152"/>
                    <a:gd name="T108" fmla="*/ 1125 w 1152"/>
                    <a:gd name="T109" fmla="*/ 614 h 1152"/>
                    <a:gd name="T110" fmla="*/ 1151 w 1152"/>
                    <a:gd name="T111" fmla="*/ 526 h 1152"/>
                    <a:gd name="T112" fmla="*/ 1139 w 1152"/>
                    <a:gd name="T113" fmla="*/ 447 h 1152"/>
                    <a:gd name="T114" fmla="*/ 1063 w 1152"/>
                    <a:gd name="T115" fmla="*/ 381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52" h="1152">
                      <a:moveTo>
                        <a:pt x="1079" y="523"/>
                      </a:moveTo>
                      <a:lnTo>
                        <a:pt x="1078" y="531"/>
                      </a:lnTo>
                      <a:lnTo>
                        <a:pt x="1076" y="539"/>
                      </a:lnTo>
                      <a:lnTo>
                        <a:pt x="1075" y="543"/>
                      </a:lnTo>
                      <a:lnTo>
                        <a:pt x="1073" y="547"/>
                      </a:lnTo>
                      <a:lnTo>
                        <a:pt x="1071" y="552"/>
                      </a:lnTo>
                      <a:lnTo>
                        <a:pt x="1066" y="556"/>
                      </a:lnTo>
                      <a:lnTo>
                        <a:pt x="1063" y="560"/>
                      </a:lnTo>
                      <a:lnTo>
                        <a:pt x="1058" y="563"/>
                      </a:lnTo>
                      <a:lnTo>
                        <a:pt x="1052" y="567"/>
                      </a:lnTo>
                      <a:lnTo>
                        <a:pt x="1046" y="570"/>
                      </a:lnTo>
                      <a:lnTo>
                        <a:pt x="1038" y="572"/>
                      </a:lnTo>
                      <a:lnTo>
                        <a:pt x="1029" y="574"/>
                      </a:lnTo>
                      <a:lnTo>
                        <a:pt x="1019" y="575"/>
                      </a:lnTo>
                      <a:lnTo>
                        <a:pt x="1008" y="576"/>
                      </a:lnTo>
                      <a:lnTo>
                        <a:pt x="936" y="576"/>
                      </a:lnTo>
                      <a:lnTo>
                        <a:pt x="933" y="576"/>
                      </a:lnTo>
                      <a:lnTo>
                        <a:pt x="929" y="577"/>
                      </a:lnTo>
                      <a:lnTo>
                        <a:pt x="926" y="579"/>
                      </a:lnTo>
                      <a:lnTo>
                        <a:pt x="923" y="581"/>
                      </a:lnTo>
                      <a:lnTo>
                        <a:pt x="921" y="584"/>
                      </a:lnTo>
                      <a:lnTo>
                        <a:pt x="920" y="587"/>
                      </a:lnTo>
                      <a:lnTo>
                        <a:pt x="919" y="590"/>
                      </a:lnTo>
                      <a:lnTo>
                        <a:pt x="919" y="594"/>
                      </a:lnTo>
                      <a:lnTo>
                        <a:pt x="919" y="598"/>
                      </a:lnTo>
                      <a:lnTo>
                        <a:pt x="920" y="601"/>
                      </a:lnTo>
                      <a:lnTo>
                        <a:pt x="921" y="603"/>
                      </a:lnTo>
                      <a:lnTo>
                        <a:pt x="923" y="607"/>
                      </a:lnTo>
                      <a:lnTo>
                        <a:pt x="926" y="609"/>
                      </a:lnTo>
                      <a:lnTo>
                        <a:pt x="929" y="611"/>
                      </a:lnTo>
                      <a:lnTo>
                        <a:pt x="933" y="612"/>
                      </a:lnTo>
                      <a:lnTo>
                        <a:pt x="936" y="612"/>
                      </a:lnTo>
                      <a:lnTo>
                        <a:pt x="1006" y="612"/>
                      </a:lnTo>
                      <a:lnTo>
                        <a:pt x="1016" y="612"/>
                      </a:lnTo>
                      <a:lnTo>
                        <a:pt x="1024" y="614"/>
                      </a:lnTo>
                      <a:lnTo>
                        <a:pt x="1032" y="616"/>
                      </a:lnTo>
                      <a:lnTo>
                        <a:pt x="1038" y="620"/>
                      </a:lnTo>
                      <a:lnTo>
                        <a:pt x="1044" y="623"/>
                      </a:lnTo>
                      <a:lnTo>
                        <a:pt x="1048" y="627"/>
                      </a:lnTo>
                      <a:lnTo>
                        <a:pt x="1052" y="631"/>
                      </a:lnTo>
                      <a:lnTo>
                        <a:pt x="1056" y="637"/>
                      </a:lnTo>
                      <a:lnTo>
                        <a:pt x="1059" y="642"/>
                      </a:lnTo>
                      <a:lnTo>
                        <a:pt x="1061" y="648"/>
                      </a:lnTo>
                      <a:lnTo>
                        <a:pt x="1062" y="653"/>
                      </a:lnTo>
                      <a:lnTo>
                        <a:pt x="1063" y="658"/>
                      </a:lnTo>
                      <a:lnTo>
                        <a:pt x="1064" y="669"/>
                      </a:lnTo>
                      <a:lnTo>
                        <a:pt x="1063" y="678"/>
                      </a:lnTo>
                      <a:lnTo>
                        <a:pt x="1061" y="690"/>
                      </a:lnTo>
                      <a:lnTo>
                        <a:pt x="1058" y="702"/>
                      </a:lnTo>
                      <a:lnTo>
                        <a:pt x="1052" y="715"/>
                      </a:lnTo>
                      <a:lnTo>
                        <a:pt x="1046" y="728"/>
                      </a:lnTo>
                      <a:lnTo>
                        <a:pt x="1041" y="733"/>
                      </a:lnTo>
                      <a:lnTo>
                        <a:pt x="1035" y="738"/>
                      </a:lnTo>
                      <a:lnTo>
                        <a:pt x="1030" y="744"/>
                      </a:lnTo>
                      <a:lnTo>
                        <a:pt x="1022" y="747"/>
                      </a:lnTo>
                      <a:lnTo>
                        <a:pt x="1015" y="751"/>
                      </a:lnTo>
                      <a:lnTo>
                        <a:pt x="1006" y="753"/>
                      </a:lnTo>
                      <a:lnTo>
                        <a:pt x="996" y="756"/>
                      </a:lnTo>
                      <a:lnTo>
                        <a:pt x="985" y="756"/>
                      </a:lnTo>
                      <a:lnTo>
                        <a:pt x="900" y="756"/>
                      </a:lnTo>
                      <a:lnTo>
                        <a:pt x="896" y="757"/>
                      </a:lnTo>
                      <a:lnTo>
                        <a:pt x="893" y="757"/>
                      </a:lnTo>
                      <a:lnTo>
                        <a:pt x="890" y="759"/>
                      </a:lnTo>
                      <a:lnTo>
                        <a:pt x="887" y="761"/>
                      </a:lnTo>
                      <a:lnTo>
                        <a:pt x="885" y="764"/>
                      </a:lnTo>
                      <a:lnTo>
                        <a:pt x="883" y="766"/>
                      </a:lnTo>
                      <a:lnTo>
                        <a:pt x="883" y="770"/>
                      </a:lnTo>
                      <a:lnTo>
                        <a:pt x="882" y="774"/>
                      </a:lnTo>
                      <a:lnTo>
                        <a:pt x="883" y="777"/>
                      </a:lnTo>
                      <a:lnTo>
                        <a:pt x="883" y="780"/>
                      </a:lnTo>
                      <a:lnTo>
                        <a:pt x="885" y="784"/>
                      </a:lnTo>
                      <a:lnTo>
                        <a:pt x="887" y="787"/>
                      </a:lnTo>
                      <a:lnTo>
                        <a:pt x="890" y="789"/>
                      </a:lnTo>
                      <a:lnTo>
                        <a:pt x="893" y="790"/>
                      </a:lnTo>
                      <a:lnTo>
                        <a:pt x="896" y="791"/>
                      </a:lnTo>
                      <a:lnTo>
                        <a:pt x="900" y="792"/>
                      </a:lnTo>
                      <a:lnTo>
                        <a:pt x="970" y="791"/>
                      </a:lnTo>
                      <a:lnTo>
                        <a:pt x="981" y="792"/>
                      </a:lnTo>
                      <a:lnTo>
                        <a:pt x="991" y="793"/>
                      </a:lnTo>
                      <a:lnTo>
                        <a:pt x="998" y="797"/>
                      </a:lnTo>
                      <a:lnTo>
                        <a:pt x="1005" y="800"/>
                      </a:lnTo>
                      <a:lnTo>
                        <a:pt x="1010" y="803"/>
                      </a:lnTo>
                      <a:lnTo>
                        <a:pt x="1015" y="807"/>
                      </a:lnTo>
                      <a:lnTo>
                        <a:pt x="1018" y="813"/>
                      </a:lnTo>
                      <a:lnTo>
                        <a:pt x="1020" y="818"/>
                      </a:lnTo>
                      <a:lnTo>
                        <a:pt x="1022" y="825"/>
                      </a:lnTo>
                      <a:lnTo>
                        <a:pt x="1022" y="830"/>
                      </a:lnTo>
                      <a:lnTo>
                        <a:pt x="1023" y="837"/>
                      </a:lnTo>
                      <a:lnTo>
                        <a:pt x="1022" y="843"/>
                      </a:lnTo>
                      <a:lnTo>
                        <a:pt x="1020" y="855"/>
                      </a:lnTo>
                      <a:lnTo>
                        <a:pt x="1018" y="866"/>
                      </a:lnTo>
                      <a:lnTo>
                        <a:pt x="1014" y="879"/>
                      </a:lnTo>
                      <a:lnTo>
                        <a:pt x="1008" y="892"/>
                      </a:lnTo>
                      <a:lnTo>
                        <a:pt x="1006" y="898"/>
                      </a:lnTo>
                      <a:lnTo>
                        <a:pt x="1003" y="904"/>
                      </a:lnTo>
                      <a:lnTo>
                        <a:pt x="998" y="909"/>
                      </a:lnTo>
                      <a:lnTo>
                        <a:pt x="994" y="914"/>
                      </a:lnTo>
                      <a:lnTo>
                        <a:pt x="989" y="919"/>
                      </a:lnTo>
                      <a:lnTo>
                        <a:pt x="983" y="923"/>
                      </a:lnTo>
                      <a:lnTo>
                        <a:pt x="976" y="927"/>
                      </a:lnTo>
                      <a:lnTo>
                        <a:pt x="968" y="930"/>
                      </a:lnTo>
                      <a:lnTo>
                        <a:pt x="958" y="933"/>
                      </a:lnTo>
                      <a:lnTo>
                        <a:pt x="948" y="934"/>
                      </a:lnTo>
                      <a:lnTo>
                        <a:pt x="936" y="935"/>
                      </a:lnTo>
                      <a:lnTo>
                        <a:pt x="923" y="936"/>
                      </a:lnTo>
                      <a:lnTo>
                        <a:pt x="863" y="936"/>
                      </a:lnTo>
                      <a:lnTo>
                        <a:pt x="860" y="936"/>
                      </a:lnTo>
                      <a:lnTo>
                        <a:pt x="857" y="937"/>
                      </a:lnTo>
                      <a:lnTo>
                        <a:pt x="854" y="939"/>
                      </a:lnTo>
                      <a:lnTo>
                        <a:pt x="852" y="941"/>
                      </a:lnTo>
                      <a:lnTo>
                        <a:pt x="849" y="944"/>
                      </a:lnTo>
                      <a:lnTo>
                        <a:pt x="847" y="947"/>
                      </a:lnTo>
                      <a:lnTo>
                        <a:pt x="846" y="950"/>
                      </a:lnTo>
                      <a:lnTo>
                        <a:pt x="846" y="954"/>
                      </a:lnTo>
                      <a:lnTo>
                        <a:pt x="846" y="958"/>
                      </a:lnTo>
                      <a:lnTo>
                        <a:pt x="847" y="961"/>
                      </a:lnTo>
                      <a:lnTo>
                        <a:pt x="849" y="964"/>
                      </a:lnTo>
                      <a:lnTo>
                        <a:pt x="852" y="966"/>
                      </a:lnTo>
                      <a:lnTo>
                        <a:pt x="854" y="968"/>
                      </a:lnTo>
                      <a:lnTo>
                        <a:pt x="857" y="971"/>
                      </a:lnTo>
                      <a:lnTo>
                        <a:pt x="860" y="972"/>
                      </a:lnTo>
                      <a:lnTo>
                        <a:pt x="863" y="972"/>
                      </a:lnTo>
                      <a:lnTo>
                        <a:pt x="921" y="972"/>
                      </a:lnTo>
                      <a:lnTo>
                        <a:pt x="927" y="973"/>
                      </a:lnTo>
                      <a:lnTo>
                        <a:pt x="934" y="974"/>
                      </a:lnTo>
                      <a:lnTo>
                        <a:pt x="939" y="975"/>
                      </a:lnTo>
                      <a:lnTo>
                        <a:pt x="943" y="978"/>
                      </a:lnTo>
                      <a:lnTo>
                        <a:pt x="947" y="981"/>
                      </a:lnTo>
                      <a:lnTo>
                        <a:pt x="950" y="985"/>
                      </a:lnTo>
                      <a:lnTo>
                        <a:pt x="953" y="988"/>
                      </a:lnTo>
                      <a:lnTo>
                        <a:pt x="955" y="992"/>
                      </a:lnTo>
                      <a:lnTo>
                        <a:pt x="957" y="1001"/>
                      </a:lnTo>
                      <a:lnTo>
                        <a:pt x="958" y="1008"/>
                      </a:lnTo>
                      <a:lnTo>
                        <a:pt x="958" y="1016"/>
                      </a:lnTo>
                      <a:lnTo>
                        <a:pt x="957" y="1022"/>
                      </a:lnTo>
                      <a:lnTo>
                        <a:pt x="951" y="1041"/>
                      </a:lnTo>
                      <a:lnTo>
                        <a:pt x="948" y="1048"/>
                      </a:lnTo>
                      <a:lnTo>
                        <a:pt x="943" y="1056"/>
                      </a:lnTo>
                      <a:lnTo>
                        <a:pt x="938" y="1061"/>
                      </a:lnTo>
                      <a:lnTo>
                        <a:pt x="931" y="1067"/>
                      </a:lnTo>
                      <a:lnTo>
                        <a:pt x="924" y="1071"/>
                      </a:lnTo>
                      <a:lnTo>
                        <a:pt x="916" y="1075"/>
                      </a:lnTo>
                      <a:lnTo>
                        <a:pt x="907" y="1077"/>
                      </a:lnTo>
                      <a:lnTo>
                        <a:pt x="895" y="1080"/>
                      </a:lnTo>
                      <a:lnTo>
                        <a:pt x="882" y="1080"/>
                      </a:lnTo>
                      <a:lnTo>
                        <a:pt x="685" y="1080"/>
                      </a:lnTo>
                      <a:lnTo>
                        <a:pt x="649" y="1079"/>
                      </a:lnTo>
                      <a:lnTo>
                        <a:pt x="613" y="1076"/>
                      </a:lnTo>
                      <a:lnTo>
                        <a:pt x="579" y="1073"/>
                      </a:lnTo>
                      <a:lnTo>
                        <a:pt x="549" y="1069"/>
                      </a:lnTo>
                      <a:lnTo>
                        <a:pt x="523" y="1065"/>
                      </a:lnTo>
                      <a:lnTo>
                        <a:pt x="504" y="1060"/>
                      </a:lnTo>
                      <a:lnTo>
                        <a:pt x="491" y="1058"/>
                      </a:lnTo>
                      <a:lnTo>
                        <a:pt x="485" y="1057"/>
                      </a:lnTo>
                      <a:lnTo>
                        <a:pt x="436" y="1045"/>
                      </a:lnTo>
                      <a:lnTo>
                        <a:pt x="398" y="1036"/>
                      </a:lnTo>
                      <a:lnTo>
                        <a:pt x="370" y="1030"/>
                      </a:lnTo>
                      <a:lnTo>
                        <a:pt x="349" y="1025"/>
                      </a:lnTo>
                      <a:lnTo>
                        <a:pt x="336" y="1021"/>
                      </a:lnTo>
                      <a:lnTo>
                        <a:pt x="328" y="1019"/>
                      </a:lnTo>
                      <a:lnTo>
                        <a:pt x="322" y="1018"/>
                      </a:lnTo>
                      <a:lnTo>
                        <a:pt x="319" y="1017"/>
                      </a:lnTo>
                      <a:lnTo>
                        <a:pt x="314" y="1016"/>
                      </a:lnTo>
                      <a:lnTo>
                        <a:pt x="304" y="1012"/>
                      </a:lnTo>
                      <a:lnTo>
                        <a:pt x="297" y="1007"/>
                      </a:lnTo>
                      <a:lnTo>
                        <a:pt x="293" y="1002"/>
                      </a:lnTo>
                      <a:lnTo>
                        <a:pt x="291" y="999"/>
                      </a:lnTo>
                      <a:lnTo>
                        <a:pt x="290" y="994"/>
                      </a:lnTo>
                      <a:lnTo>
                        <a:pt x="289" y="990"/>
                      </a:lnTo>
                      <a:lnTo>
                        <a:pt x="288" y="986"/>
                      </a:lnTo>
                      <a:lnTo>
                        <a:pt x="288" y="488"/>
                      </a:lnTo>
                      <a:lnTo>
                        <a:pt x="289" y="482"/>
                      </a:lnTo>
                      <a:lnTo>
                        <a:pt x="290" y="476"/>
                      </a:lnTo>
                      <a:lnTo>
                        <a:pt x="292" y="471"/>
                      </a:lnTo>
                      <a:lnTo>
                        <a:pt x="295" y="465"/>
                      </a:lnTo>
                      <a:lnTo>
                        <a:pt x="300" y="461"/>
                      </a:lnTo>
                      <a:lnTo>
                        <a:pt x="305" y="456"/>
                      </a:lnTo>
                      <a:lnTo>
                        <a:pt x="310" y="453"/>
                      </a:lnTo>
                      <a:lnTo>
                        <a:pt x="317" y="451"/>
                      </a:lnTo>
                      <a:lnTo>
                        <a:pt x="320" y="449"/>
                      </a:lnTo>
                      <a:lnTo>
                        <a:pt x="325" y="448"/>
                      </a:lnTo>
                      <a:lnTo>
                        <a:pt x="339" y="441"/>
                      </a:lnTo>
                      <a:lnTo>
                        <a:pt x="354" y="434"/>
                      </a:lnTo>
                      <a:lnTo>
                        <a:pt x="368" y="426"/>
                      </a:lnTo>
                      <a:lnTo>
                        <a:pt x="381" y="419"/>
                      </a:lnTo>
                      <a:lnTo>
                        <a:pt x="393" y="410"/>
                      </a:lnTo>
                      <a:lnTo>
                        <a:pt x="404" y="401"/>
                      </a:lnTo>
                      <a:lnTo>
                        <a:pt x="416" y="393"/>
                      </a:lnTo>
                      <a:lnTo>
                        <a:pt x="427" y="383"/>
                      </a:lnTo>
                      <a:lnTo>
                        <a:pt x="437" y="373"/>
                      </a:lnTo>
                      <a:lnTo>
                        <a:pt x="447" y="364"/>
                      </a:lnTo>
                      <a:lnTo>
                        <a:pt x="455" y="353"/>
                      </a:lnTo>
                      <a:lnTo>
                        <a:pt x="464" y="343"/>
                      </a:lnTo>
                      <a:lnTo>
                        <a:pt x="480" y="320"/>
                      </a:lnTo>
                      <a:lnTo>
                        <a:pt x="493" y="299"/>
                      </a:lnTo>
                      <a:lnTo>
                        <a:pt x="505" y="275"/>
                      </a:lnTo>
                      <a:lnTo>
                        <a:pt x="515" y="251"/>
                      </a:lnTo>
                      <a:lnTo>
                        <a:pt x="522" y="228"/>
                      </a:lnTo>
                      <a:lnTo>
                        <a:pt x="529" y="203"/>
                      </a:lnTo>
                      <a:lnTo>
                        <a:pt x="534" y="179"/>
                      </a:lnTo>
                      <a:lnTo>
                        <a:pt x="537" y="155"/>
                      </a:lnTo>
                      <a:lnTo>
                        <a:pt x="539" y="131"/>
                      </a:lnTo>
                      <a:lnTo>
                        <a:pt x="541" y="108"/>
                      </a:lnTo>
                      <a:lnTo>
                        <a:pt x="541" y="101"/>
                      </a:lnTo>
                      <a:lnTo>
                        <a:pt x="543" y="95"/>
                      </a:lnTo>
                      <a:lnTo>
                        <a:pt x="546" y="89"/>
                      </a:lnTo>
                      <a:lnTo>
                        <a:pt x="549" y="84"/>
                      </a:lnTo>
                      <a:lnTo>
                        <a:pt x="555" y="78"/>
                      </a:lnTo>
                      <a:lnTo>
                        <a:pt x="561" y="75"/>
                      </a:lnTo>
                      <a:lnTo>
                        <a:pt x="568" y="73"/>
                      </a:lnTo>
                      <a:lnTo>
                        <a:pt x="576" y="72"/>
                      </a:lnTo>
                      <a:lnTo>
                        <a:pt x="584" y="73"/>
                      </a:lnTo>
                      <a:lnTo>
                        <a:pt x="591" y="75"/>
                      </a:lnTo>
                      <a:lnTo>
                        <a:pt x="600" y="80"/>
                      </a:lnTo>
                      <a:lnTo>
                        <a:pt x="609" y="85"/>
                      </a:lnTo>
                      <a:lnTo>
                        <a:pt x="617" y="93"/>
                      </a:lnTo>
                      <a:lnTo>
                        <a:pt x="626" y="101"/>
                      </a:lnTo>
                      <a:lnTo>
                        <a:pt x="634" y="111"/>
                      </a:lnTo>
                      <a:lnTo>
                        <a:pt x="643" y="122"/>
                      </a:lnTo>
                      <a:lnTo>
                        <a:pt x="651" y="134"/>
                      </a:lnTo>
                      <a:lnTo>
                        <a:pt x="658" y="148"/>
                      </a:lnTo>
                      <a:lnTo>
                        <a:pt x="665" y="162"/>
                      </a:lnTo>
                      <a:lnTo>
                        <a:pt x="670" y="176"/>
                      </a:lnTo>
                      <a:lnTo>
                        <a:pt x="674" y="192"/>
                      </a:lnTo>
                      <a:lnTo>
                        <a:pt x="679" y="208"/>
                      </a:lnTo>
                      <a:lnTo>
                        <a:pt x="681" y="225"/>
                      </a:lnTo>
                      <a:lnTo>
                        <a:pt x="681" y="243"/>
                      </a:lnTo>
                      <a:lnTo>
                        <a:pt x="681" y="272"/>
                      </a:lnTo>
                      <a:lnTo>
                        <a:pt x="680" y="296"/>
                      </a:lnTo>
                      <a:lnTo>
                        <a:pt x="679" y="317"/>
                      </a:lnTo>
                      <a:lnTo>
                        <a:pt x="676" y="336"/>
                      </a:lnTo>
                      <a:lnTo>
                        <a:pt x="671" y="355"/>
                      </a:lnTo>
                      <a:lnTo>
                        <a:pt x="666" y="377"/>
                      </a:lnTo>
                      <a:lnTo>
                        <a:pt x="658" y="401"/>
                      </a:lnTo>
                      <a:lnTo>
                        <a:pt x="649" y="432"/>
                      </a:lnTo>
                      <a:lnTo>
                        <a:pt x="766" y="432"/>
                      </a:lnTo>
                      <a:lnTo>
                        <a:pt x="856" y="433"/>
                      </a:lnTo>
                      <a:lnTo>
                        <a:pt x="921" y="434"/>
                      </a:lnTo>
                      <a:lnTo>
                        <a:pt x="966" y="436"/>
                      </a:lnTo>
                      <a:lnTo>
                        <a:pt x="995" y="437"/>
                      </a:lnTo>
                      <a:lnTo>
                        <a:pt x="1014" y="439"/>
                      </a:lnTo>
                      <a:lnTo>
                        <a:pt x="1027" y="442"/>
                      </a:lnTo>
                      <a:lnTo>
                        <a:pt x="1037" y="446"/>
                      </a:lnTo>
                      <a:lnTo>
                        <a:pt x="1044" y="448"/>
                      </a:lnTo>
                      <a:lnTo>
                        <a:pt x="1050" y="450"/>
                      </a:lnTo>
                      <a:lnTo>
                        <a:pt x="1056" y="453"/>
                      </a:lnTo>
                      <a:lnTo>
                        <a:pt x="1060" y="458"/>
                      </a:lnTo>
                      <a:lnTo>
                        <a:pt x="1068" y="465"/>
                      </a:lnTo>
                      <a:lnTo>
                        <a:pt x="1073" y="473"/>
                      </a:lnTo>
                      <a:lnTo>
                        <a:pt x="1077" y="481"/>
                      </a:lnTo>
                      <a:lnTo>
                        <a:pt x="1078" y="489"/>
                      </a:lnTo>
                      <a:lnTo>
                        <a:pt x="1079" y="495"/>
                      </a:lnTo>
                      <a:lnTo>
                        <a:pt x="1081" y="501"/>
                      </a:lnTo>
                      <a:lnTo>
                        <a:pt x="1079" y="512"/>
                      </a:lnTo>
                      <a:lnTo>
                        <a:pt x="1079" y="523"/>
                      </a:lnTo>
                      <a:close/>
                      <a:moveTo>
                        <a:pt x="252" y="1044"/>
                      </a:moveTo>
                      <a:lnTo>
                        <a:pt x="251" y="1052"/>
                      </a:lnTo>
                      <a:lnTo>
                        <a:pt x="249" y="1058"/>
                      </a:lnTo>
                      <a:lnTo>
                        <a:pt x="246" y="1063"/>
                      </a:lnTo>
                      <a:lnTo>
                        <a:pt x="241" y="1069"/>
                      </a:lnTo>
                      <a:lnTo>
                        <a:pt x="236" y="1073"/>
                      </a:lnTo>
                      <a:lnTo>
                        <a:pt x="231" y="1077"/>
                      </a:lnTo>
                      <a:lnTo>
                        <a:pt x="223" y="1079"/>
                      </a:lnTo>
                      <a:lnTo>
                        <a:pt x="216" y="1080"/>
                      </a:lnTo>
                      <a:lnTo>
                        <a:pt x="108" y="1080"/>
                      </a:lnTo>
                      <a:lnTo>
                        <a:pt x="101" y="1079"/>
                      </a:lnTo>
                      <a:lnTo>
                        <a:pt x="94" y="1077"/>
                      </a:lnTo>
                      <a:lnTo>
                        <a:pt x="88" y="1073"/>
                      </a:lnTo>
                      <a:lnTo>
                        <a:pt x="83" y="1069"/>
                      </a:lnTo>
                      <a:lnTo>
                        <a:pt x="78" y="1063"/>
                      </a:lnTo>
                      <a:lnTo>
                        <a:pt x="75" y="1058"/>
                      </a:lnTo>
                      <a:lnTo>
                        <a:pt x="73" y="1052"/>
                      </a:lnTo>
                      <a:lnTo>
                        <a:pt x="72" y="1044"/>
                      </a:lnTo>
                      <a:lnTo>
                        <a:pt x="72" y="468"/>
                      </a:lnTo>
                      <a:lnTo>
                        <a:pt x="73" y="461"/>
                      </a:lnTo>
                      <a:lnTo>
                        <a:pt x="75" y="454"/>
                      </a:lnTo>
                      <a:lnTo>
                        <a:pt x="78" y="448"/>
                      </a:lnTo>
                      <a:lnTo>
                        <a:pt x="83" y="442"/>
                      </a:lnTo>
                      <a:lnTo>
                        <a:pt x="88" y="438"/>
                      </a:lnTo>
                      <a:lnTo>
                        <a:pt x="94" y="435"/>
                      </a:lnTo>
                      <a:lnTo>
                        <a:pt x="101" y="433"/>
                      </a:lnTo>
                      <a:lnTo>
                        <a:pt x="108" y="432"/>
                      </a:lnTo>
                      <a:lnTo>
                        <a:pt x="216" y="432"/>
                      </a:lnTo>
                      <a:lnTo>
                        <a:pt x="223" y="433"/>
                      </a:lnTo>
                      <a:lnTo>
                        <a:pt x="231" y="435"/>
                      </a:lnTo>
                      <a:lnTo>
                        <a:pt x="236" y="438"/>
                      </a:lnTo>
                      <a:lnTo>
                        <a:pt x="241" y="442"/>
                      </a:lnTo>
                      <a:lnTo>
                        <a:pt x="246" y="448"/>
                      </a:lnTo>
                      <a:lnTo>
                        <a:pt x="249" y="454"/>
                      </a:lnTo>
                      <a:lnTo>
                        <a:pt x="251" y="461"/>
                      </a:lnTo>
                      <a:lnTo>
                        <a:pt x="252" y="468"/>
                      </a:lnTo>
                      <a:lnTo>
                        <a:pt x="252" y="1044"/>
                      </a:lnTo>
                      <a:close/>
                      <a:moveTo>
                        <a:pt x="1050" y="377"/>
                      </a:moveTo>
                      <a:lnTo>
                        <a:pt x="1030" y="373"/>
                      </a:lnTo>
                      <a:lnTo>
                        <a:pt x="1005" y="370"/>
                      </a:lnTo>
                      <a:lnTo>
                        <a:pt x="975" y="368"/>
                      </a:lnTo>
                      <a:lnTo>
                        <a:pt x="938" y="366"/>
                      </a:lnTo>
                      <a:lnTo>
                        <a:pt x="897" y="365"/>
                      </a:lnTo>
                      <a:lnTo>
                        <a:pt x="852" y="364"/>
                      </a:lnTo>
                      <a:lnTo>
                        <a:pt x="800" y="363"/>
                      </a:lnTo>
                      <a:lnTo>
                        <a:pt x="745" y="361"/>
                      </a:lnTo>
                      <a:lnTo>
                        <a:pt x="749" y="336"/>
                      </a:lnTo>
                      <a:lnTo>
                        <a:pt x="751" y="310"/>
                      </a:lnTo>
                      <a:lnTo>
                        <a:pt x="753" y="279"/>
                      </a:lnTo>
                      <a:lnTo>
                        <a:pt x="753" y="243"/>
                      </a:lnTo>
                      <a:lnTo>
                        <a:pt x="752" y="219"/>
                      </a:lnTo>
                      <a:lnTo>
                        <a:pt x="749" y="195"/>
                      </a:lnTo>
                      <a:lnTo>
                        <a:pt x="744" y="172"/>
                      </a:lnTo>
                      <a:lnTo>
                        <a:pt x="737" y="151"/>
                      </a:lnTo>
                      <a:lnTo>
                        <a:pt x="728" y="129"/>
                      </a:lnTo>
                      <a:lnTo>
                        <a:pt x="719" y="109"/>
                      </a:lnTo>
                      <a:lnTo>
                        <a:pt x="708" y="90"/>
                      </a:lnTo>
                      <a:lnTo>
                        <a:pt x="696" y="73"/>
                      </a:lnTo>
                      <a:lnTo>
                        <a:pt x="683" y="57"/>
                      </a:lnTo>
                      <a:lnTo>
                        <a:pt x="669" y="43"/>
                      </a:lnTo>
                      <a:lnTo>
                        <a:pt x="654" y="30"/>
                      </a:lnTo>
                      <a:lnTo>
                        <a:pt x="639" y="20"/>
                      </a:lnTo>
                      <a:lnTo>
                        <a:pt x="624" y="12"/>
                      </a:lnTo>
                      <a:lnTo>
                        <a:pt x="607" y="5"/>
                      </a:lnTo>
                      <a:lnTo>
                        <a:pt x="600" y="3"/>
                      </a:lnTo>
                      <a:lnTo>
                        <a:pt x="591" y="1"/>
                      </a:lnTo>
                      <a:lnTo>
                        <a:pt x="584" y="0"/>
                      </a:lnTo>
                      <a:lnTo>
                        <a:pt x="576" y="0"/>
                      </a:lnTo>
                      <a:lnTo>
                        <a:pt x="565" y="1"/>
                      </a:lnTo>
                      <a:lnTo>
                        <a:pt x="555" y="2"/>
                      </a:lnTo>
                      <a:lnTo>
                        <a:pt x="544" y="5"/>
                      </a:lnTo>
                      <a:lnTo>
                        <a:pt x="534" y="8"/>
                      </a:lnTo>
                      <a:lnTo>
                        <a:pt x="525" y="13"/>
                      </a:lnTo>
                      <a:lnTo>
                        <a:pt x="516" y="18"/>
                      </a:lnTo>
                      <a:lnTo>
                        <a:pt x="508" y="24"/>
                      </a:lnTo>
                      <a:lnTo>
                        <a:pt x="501" y="31"/>
                      </a:lnTo>
                      <a:lnTo>
                        <a:pt x="493" y="39"/>
                      </a:lnTo>
                      <a:lnTo>
                        <a:pt x="487" y="47"/>
                      </a:lnTo>
                      <a:lnTo>
                        <a:pt x="481" y="56"/>
                      </a:lnTo>
                      <a:lnTo>
                        <a:pt x="477" y="66"/>
                      </a:lnTo>
                      <a:lnTo>
                        <a:pt x="474" y="75"/>
                      </a:lnTo>
                      <a:lnTo>
                        <a:pt x="470" y="85"/>
                      </a:lnTo>
                      <a:lnTo>
                        <a:pt x="469" y="96"/>
                      </a:lnTo>
                      <a:lnTo>
                        <a:pt x="468" y="107"/>
                      </a:lnTo>
                      <a:lnTo>
                        <a:pt x="467" y="122"/>
                      </a:lnTo>
                      <a:lnTo>
                        <a:pt x="467" y="137"/>
                      </a:lnTo>
                      <a:lnTo>
                        <a:pt x="465" y="153"/>
                      </a:lnTo>
                      <a:lnTo>
                        <a:pt x="462" y="169"/>
                      </a:lnTo>
                      <a:lnTo>
                        <a:pt x="458" y="186"/>
                      </a:lnTo>
                      <a:lnTo>
                        <a:pt x="454" y="205"/>
                      </a:lnTo>
                      <a:lnTo>
                        <a:pt x="448" y="223"/>
                      </a:lnTo>
                      <a:lnTo>
                        <a:pt x="441" y="240"/>
                      </a:lnTo>
                      <a:lnTo>
                        <a:pt x="433" y="259"/>
                      </a:lnTo>
                      <a:lnTo>
                        <a:pt x="423" y="277"/>
                      </a:lnTo>
                      <a:lnTo>
                        <a:pt x="411" y="294"/>
                      </a:lnTo>
                      <a:lnTo>
                        <a:pt x="397" y="311"/>
                      </a:lnTo>
                      <a:lnTo>
                        <a:pt x="382" y="327"/>
                      </a:lnTo>
                      <a:lnTo>
                        <a:pt x="364" y="342"/>
                      </a:lnTo>
                      <a:lnTo>
                        <a:pt x="356" y="348"/>
                      </a:lnTo>
                      <a:lnTo>
                        <a:pt x="345" y="356"/>
                      </a:lnTo>
                      <a:lnTo>
                        <a:pt x="335" y="363"/>
                      </a:lnTo>
                      <a:lnTo>
                        <a:pt x="325" y="368"/>
                      </a:lnTo>
                      <a:lnTo>
                        <a:pt x="315" y="373"/>
                      </a:lnTo>
                      <a:lnTo>
                        <a:pt x="303" y="379"/>
                      </a:lnTo>
                      <a:lnTo>
                        <a:pt x="292" y="384"/>
                      </a:lnTo>
                      <a:lnTo>
                        <a:pt x="286" y="387"/>
                      </a:lnTo>
                      <a:lnTo>
                        <a:pt x="288" y="388"/>
                      </a:lnTo>
                      <a:lnTo>
                        <a:pt x="280" y="383"/>
                      </a:lnTo>
                      <a:lnTo>
                        <a:pt x="273" y="378"/>
                      </a:lnTo>
                      <a:lnTo>
                        <a:pt x="264" y="372"/>
                      </a:lnTo>
                      <a:lnTo>
                        <a:pt x="255" y="368"/>
                      </a:lnTo>
                      <a:lnTo>
                        <a:pt x="246" y="365"/>
                      </a:lnTo>
                      <a:lnTo>
                        <a:pt x="236" y="363"/>
                      </a:lnTo>
                      <a:lnTo>
                        <a:pt x="226" y="360"/>
                      </a:lnTo>
                      <a:lnTo>
                        <a:pt x="216" y="360"/>
                      </a:lnTo>
                      <a:lnTo>
                        <a:pt x="108" y="360"/>
                      </a:lnTo>
                      <a:lnTo>
                        <a:pt x="97" y="360"/>
                      </a:lnTo>
                      <a:lnTo>
                        <a:pt x="86" y="363"/>
                      </a:lnTo>
                      <a:lnTo>
                        <a:pt x="76" y="365"/>
                      </a:lnTo>
                      <a:lnTo>
                        <a:pt x="66" y="368"/>
                      </a:lnTo>
                      <a:lnTo>
                        <a:pt x="57" y="373"/>
                      </a:lnTo>
                      <a:lnTo>
                        <a:pt x="48" y="379"/>
                      </a:lnTo>
                      <a:lnTo>
                        <a:pt x="39" y="384"/>
                      </a:lnTo>
                      <a:lnTo>
                        <a:pt x="32" y="392"/>
                      </a:lnTo>
                      <a:lnTo>
                        <a:pt x="24" y="399"/>
                      </a:lnTo>
                      <a:lnTo>
                        <a:pt x="19" y="408"/>
                      </a:lnTo>
                      <a:lnTo>
                        <a:pt x="13" y="417"/>
                      </a:lnTo>
                      <a:lnTo>
                        <a:pt x="8" y="426"/>
                      </a:lnTo>
                      <a:lnTo>
                        <a:pt x="5" y="436"/>
                      </a:lnTo>
                      <a:lnTo>
                        <a:pt x="3" y="446"/>
                      </a:lnTo>
                      <a:lnTo>
                        <a:pt x="0" y="456"/>
                      </a:lnTo>
                      <a:lnTo>
                        <a:pt x="0" y="468"/>
                      </a:lnTo>
                      <a:lnTo>
                        <a:pt x="0" y="1044"/>
                      </a:lnTo>
                      <a:lnTo>
                        <a:pt x="0" y="1055"/>
                      </a:lnTo>
                      <a:lnTo>
                        <a:pt x="3" y="1066"/>
                      </a:lnTo>
                      <a:lnTo>
                        <a:pt x="5" y="1076"/>
                      </a:lnTo>
                      <a:lnTo>
                        <a:pt x="8" y="1086"/>
                      </a:lnTo>
                      <a:lnTo>
                        <a:pt x="13" y="1095"/>
                      </a:lnTo>
                      <a:lnTo>
                        <a:pt x="19" y="1104"/>
                      </a:lnTo>
                      <a:lnTo>
                        <a:pt x="24" y="1112"/>
                      </a:lnTo>
                      <a:lnTo>
                        <a:pt x="32" y="1121"/>
                      </a:lnTo>
                      <a:lnTo>
                        <a:pt x="39" y="1127"/>
                      </a:lnTo>
                      <a:lnTo>
                        <a:pt x="48" y="1134"/>
                      </a:lnTo>
                      <a:lnTo>
                        <a:pt x="57" y="1139"/>
                      </a:lnTo>
                      <a:lnTo>
                        <a:pt x="66" y="1143"/>
                      </a:lnTo>
                      <a:lnTo>
                        <a:pt x="76" y="1147"/>
                      </a:lnTo>
                      <a:lnTo>
                        <a:pt x="86" y="1150"/>
                      </a:lnTo>
                      <a:lnTo>
                        <a:pt x="97" y="1151"/>
                      </a:lnTo>
                      <a:lnTo>
                        <a:pt x="108" y="1152"/>
                      </a:lnTo>
                      <a:lnTo>
                        <a:pt x="216" y="1152"/>
                      </a:lnTo>
                      <a:lnTo>
                        <a:pt x="224" y="1152"/>
                      </a:lnTo>
                      <a:lnTo>
                        <a:pt x="232" y="1151"/>
                      </a:lnTo>
                      <a:lnTo>
                        <a:pt x="239" y="1149"/>
                      </a:lnTo>
                      <a:lnTo>
                        <a:pt x="247" y="1148"/>
                      </a:lnTo>
                      <a:lnTo>
                        <a:pt x="254" y="1144"/>
                      </a:lnTo>
                      <a:lnTo>
                        <a:pt x="261" y="1141"/>
                      </a:lnTo>
                      <a:lnTo>
                        <a:pt x="267" y="1138"/>
                      </a:lnTo>
                      <a:lnTo>
                        <a:pt x="274" y="1135"/>
                      </a:lnTo>
                      <a:lnTo>
                        <a:pt x="286" y="1125"/>
                      </a:lnTo>
                      <a:lnTo>
                        <a:pt x="295" y="1114"/>
                      </a:lnTo>
                      <a:lnTo>
                        <a:pt x="305" y="1102"/>
                      </a:lnTo>
                      <a:lnTo>
                        <a:pt x="312" y="1089"/>
                      </a:lnTo>
                      <a:lnTo>
                        <a:pt x="313" y="1089"/>
                      </a:lnTo>
                      <a:lnTo>
                        <a:pt x="314" y="1090"/>
                      </a:lnTo>
                      <a:lnTo>
                        <a:pt x="318" y="1092"/>
                      </a:lnTo>
                      <a:lnTo>
                        <a:pt x="322" y="1093"/>
                      </a:lnTo>
                      <a:lnTo>
                        <a:pt x="323" y="1093"/>
                      </a:lnTo>
                      <a:lnTo>
                        <a:pt x="325" y="1093"/>
                      </a:lnTo>
                      <a:lnTo>
                        <a:pt x="344" y="1098"/>
                      </a:lnTo>
                      <a:lnTo>
                        <a:pt x="373" y="1104"/>
                      </a:lnTo>
                      <a:lnTo>
                        <a:pt x="414" y="1114"/>
                      </a:lnTo>
                      <a:lnTo>
                        <a:pt x="470" y="1127"/>
                      </a:lnTo>
                      <a:lnTo>
                        <a:pt x="480" y="1129"/>
                      </a:lnTo>
                      <a:lnTo>
                        <a:pt x="497" y="1133"/>
                      </a:lnTo>
                      <a:lnTo>
                        <a:pt x="520" y="1137"/>
                      </a:lnTo>
                      <a:lnTo>
                        <a:pt x="547" y="1141"/>
                      </a:lnTo>
                      <a:lnTo>
                        <a:pt x="578" y="1146"/>
                      </a:lnTo>
                      <a:lnTo>
                        <a:pt x="612" y="1149"/>
                      </a:lnTo>
                      <a:lnTo>
                        <a:pt x="647" y="1151"/>
                      </a:lnTo>
                      <a:lnTo>
                        <a:pt x="685" y="1152"/>
                      </a:lnTo>
                      <a:lnTo>
                        <a:pt x="882" y="1152"/>
                      </a:lnTo>
                      <a:lnTo>
                        <a:pt x="893" y="1152"/>
                      </a:lnTo>
                      <a:lnTo>
                        <a:pt x="903" y="1151"/>
                      </a:lnTo>
                      <a:lnTo>
                        <a:pt x="914" y="1150"/>
                      </a:lnTo>
                      <a:lnTo>
                        <a:pt x="924" y="1148"/>
                      </a:lnTo>
                      <a:lnTo>
                        <a:pt x="934" y="1146"/>
                      </a:lnTo>
                      <a:lnTo>
                        <a:pt x="942" y="1142"/>
                      </a:lnTo>
                      <a:lnTo>
                        <a:pt x="951" y="1139"/>
                      </a:lnTo>
                      <a:lnTo>
                        <a:pt x="960" y="1135"/>
                      </a:lnTo>
                      <a:lnTo>
                        <a:pt x="967" y="1130"/>
                      </a:lnTo>
                      <a:lnTo>
                        <a:pt x="975" y="1125"/>
                      </a:lnTo>
                      <a:lnTo>
                        <a:pt x="981" y="1119"/>
                      </a:lnTo>
                      <a:lnTo>
                        <a:pt x="989" y="1113"/>
                      </a:lnTo>
                      <a:lnTo>
                        <a:pt x="994" y="1106"/>
                      </a:lnTo>
                      <a:lnTo>
                        <a:pt x="1001" y="1099"/>
                      </a:lnTo>
                      <a:lnTo>
                        <a:pt x="1006" y="1090"/>
                      </a:lnTo>
                      <a:lnTo>
                        <a:pt x="1010" y="1083"/>
                      </a:lnTo>
                      <a:lnTo>
                        <a:pt x="1012" y="1080"/>
                      </a:lnTo>
                      <a:lnTo>
                        <a:pt x="1016" y="1071"/>
                      </a:lnTo>
                      <a:lnTo>
                        <a:pt x="1021" y="1059"/>
                      </a:lnTo>
                      <a:lnTo>
                        <a:pt x="1027" y="1044"/>
                      </a:lnTo>
                      <a:lnTo>
                        <a:pt x="1030" y="1030"/>
                      </a:lnTo>
                      <a:lnTo>
                        <a:pt x="1031" y="1015"/>
                      </a:lnTo>
                      <a:lnTo>
                        <a:pt x="1031" y="1006"/>
                      </a:lnTo>
                      <a:lnTo>
                        <a:pt x="1030" y="998"/>
                      </a:lnTo>
                      <a:lnTo>
                        <a:pt x="1029" y="989"/>
                      </a:lnTo>
                      <a:lnTo>
                        <a:pt x="1027" y="980"/>
                      </a:lnTo>
                      <a:lnTo>
                        <a:pt x="1034" y="975"/>
                      </a:lnTo>
                      <a:lnTo>
                        <a:pt x="1041" y="969"/>
                      </a:lnTo>
                      <a:lnTo>
                        <a:pt x="1046" y="964"/>
                      </a:lnTo>
                      <a:lnTo>
                        <a:pt x="1051" y="959"/>
                      </a:lnTo>
                      <a:lnTo>
                        <a:pt x="1061" y="946"/>
                      </a:lnTo>
                      <a:lnTo>
                        <a:pt x="1068" y="934"/>
                      </a:lnTo>
                      <a:lnTo>
                        <a:pt x="1074" y="921"/>
                      </a:lnTo>
                      <a:lnTo>
                        <a:pt x="1079" y="909"/>
                      </a:lnTo>
                      <a:lnTo>
                        <a:pt x="1083" y="898"/>
                      </a:lnTo>
                      <a:lnTo>
                        <a:pt x="1086" y="887"/>
                      </a:lnTo>
                      <a:lnTo>
                        <a:pt x="1090" y="872"/>
                      </a:lnTo>
                      <a:lnTo>
                        <a:pt x="1093" y="857"/>
                      </a:lnTo>
                      <a:lnTo>
                        <a:pt x="1095" y="843"/>
                      </a:lnTo>
                      <a:lnTo>
                        <a:pt x="1095" y="831"/>
                      </a:lnTo>
                      <a:lnTo>
                        <a:pt x="1093" y="819"/>
                      </a:lnTo>
                      <a:lnTo>
                        <a:pt x="1092" y="809"/>
                      </a:lnTo>
                      <a:lnTo>
                        <a:pt x="1089" y="799"/>
                      </a:lnTo>
                      <a:lnTo>
                        <a:pt x="1086" y="789"/>
                      </a:lnTo>
                      <a:lnTo>
                        <a:pt x="1095" y="782"/>
                      </a:lnTo>
                      <a:lnTo>
                        <a:pt x="1102" y="772"/>
                      </a:lnTo>
                      <a:lnTo>
                        <a:pt x="1109" y="761"/>
                      </a:lnTo>
                      <a:lnTo>
                        <a:pt x="1115" y="750"/>
                      </a:lnTo>
                      <a:lnTo>
                        <a:pt x="1122" y="737"/>
                      </a:lnTo>
                      <a:lnTo>
                        <a:pt x="1127" y="722"/>
                      </a:lnTo>
                      <a:lnTo>
                        <a:pt x="1131" y="707"/>
                      </a:lnTo>
                      <a:lnTo>
                        <a:pt x="1135" y="690"/>
                      </a:lnTo>
                      <a:lnTo>
                        <a:pt x="1136" y="679"/>
                      </a:lnTo>
                      <a:lnTo>
                        <a:pt x="1137" y="667"/>
                      </a:lnTo>
                      <a:lnTo>
                        <a:pt x="1136" y="656"/>
                      </a:lnTo>
                      <a:lnTo>
                        <a:pt x="1135" y="645"/>
                      </a:lnTo>
                      <a:lnTo>
                        <a:pt x="1132" y="635"/>
                      </a:lnTo>
                      <a:lnTo>
                        <a:pt x="1129" y="624"/>
                      </a:lnTo>
                      <a:lnTo>
                        <a:pt x="1125" y="614"/>
                      </a:lnTo>
                      <a:lnTo>
                        <a:pt x="1120" y="604"/>
                      </a:lnTo>
                      <a:lnTo>
                        <a:pt x="1128" y="596"/>
                      </a:lnTo>
                      <a:lnTo>
                        <a:pt x="1133" y="586"/>
                      </a:lnTo>
                      <a:lnTo>
                        <a:pt x="1139" y="576"/>
                      </a:lnTo>
                      <a:lnTo>
                        <a:pt x="1143" y="567"/>
                      </a:lnTo>
                      <a:lnTo>
                        <a:pt x="1146" y="557"/>
                      </a:lnTo>
                      <a:lnTo>
                        <a:pt x="1149" y="546"/>
                      </a:lnTo>
                      <a:lnTo>
                        <a:pt x="1151" y="536"/>
                      </a:lnTo>
                      <a:lnTo>
                        <a:pt x="1151" y="526"/>
                      </a:lnTo>
                      <a:lnTo>
                        <a:pt x="1152" y="518"/>
                      </a:lnTo>
                      <a:lnTo>
                        <a:pt x="1152" y="512"/>
                      </a:lnTo>
                      <a:lnTo>
                        <a:pt x="1152" y="501"/>
                      </a:lnTo>
                      <a:lnTo>
                        <a:pt x="1152" y="492"/>
                      </a:lnTo>
                      <a:lnTo>
                        <a:pt x="1151" y="482"/>
                      </a:lnTo>
                      <a:lnTo>
                        <a:pt x="1149" y="474"/>
                      </a:lnTo>
                      <a:lnTo>
                        <a:pt x="1146" y="465"/>
                      </a:lnTo>
                      <a:lnTo>
                        <a:pt x="1142" y="455"/>
                      </a:lnTo>
                      <a:lnTo>
                        <a:pt x="1139" y="447"/>
                      </a:lnTo>
                      <a:lnTo>
                        <a:pt x="1133" y="438"/>
                      </a:lnTo>
                      <a:lnTo>
                        <a:pt x="1127" y="429"/>
                      </a:lnTo>
                      <a:lnTo>
                        <a:pt x="1120" y="421"/>
                      </a:lnTo>
                      <a:lnTo>
                        <a:pt x="1113" y="413"/>
                      </a:lnTo>
                      <a:lnTo>
                        <a:pt x="1105" y="406"/>
                      </a:lnTo>
                      <a:lnTo>
                        <a:pt x="1096" y="398"/>
                      </a:lnTo>
                      <a:lnTo>
                        <a:pt x="1086" y="392"/>
                      </a:lnTo>
                      <a:lnTo>
                        <a:pt x="1074" y="386"/>
                      </a:lnTo>
                      <a:lnTo>
                        <a:pt x="1063" y="381"/>
                      </a:lnTo>
                      <a:lnTo>
                        <a:pt x="1050" y="3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Freeform 83">
                  <a:extLst>
                    <a:ext uri="{FF2B5EF4-FFF2-40B4-BE49-F238E27FC236}">
                      <a16:creationId xmlns:a16="http://schemas.microsoft.com/office/drawing/2014/main" id="{92231939-A974-9A01-ACC4-3D81EE9F76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28794" y="2189559"/>
                  <a:ext cx="42863" cy="42863"/>
                </a:xfrm>
                <a:custGeom>
                  <a:avLst/>
                  <a:gdLst>
                    <a:gd name="T0" fmla="*/ 50 w 108"/>
                    <a:gd name="T1" fmla="*/ 71 h 108"/>
                    <a:gd name="T2" fmla="*/ 44 w 108"/>
                    <a:gd name="T3" fmla="*/ 69 h 108"/>
                    <a:gd name="T4" fmla="*/ 39 w 108"/>
                    <a:gd name="T5" fmla="*/ 64 h 108"/>
                    <a:gd name="T6" fmla="*/ 36 w 108"/>
                    <a:gd name="T7" fmla="*/ 57 h 108"/>
                    <a:gd name="T8" fmla="*/ 36 w 108"/>
                    <a:gd name="T9" fmla="*/ 50 h 108"/>
                    <a:gd name="T10" fmla="*/ 39 w 108"/>
                    <a:gd name="T11" fmla="*/ 44 h 108"/>
                    <a:gd name="T12" fmla="*/ 44 w 108"/>
                    <a:gd name="T13" fmla="*/ 39 h 108"/>
                    <a:gd name="T14" fmla="*/ 50 w 108"/>
                    <a:gd name="T15" fmla="*/ 37 h 108"/>
                    <a:gd name="T16" fmla="*/ 58 w 108"/>
                    <a:gd name="T17" fmla="*/ 37 h 108"/>
                    <a:gd name="T18" fmla="*/ 64 w 108"/>
                    <a:gd name="T19" fmla="*/ 39 h 108"/>
                    <a:gd name="T20" fmla="*/ 69 w 108"/>
                    <a:gd name="T21" fmla="*/ 44 h 108"/>
                    <a:gd name="T22" fmla="*/ 72 w 108"/>
                    <a:gd name="T23" fmla="*/ 50 h 108"/>
                    <a:gd name="T24" fmla="*/ 72 w 108"/>
                    <a:gd name="T25" fmla="*/ 57 h 108"/>
                    <a:gd name="T26" fmla="*/ 69 w 108"/>
                    <a:gd name="T27" fmla="*/ 64 h 108"/>
                    <a:gd name="T28" fmla="*/ 64 w 108"/>
                    <a:gd name="T29" fmla="*/ 69 h 108"/>
                    <a:gd name="T30" fmla="*/ 58 w 108"/>
                    <a:gd name="T31" fmla="*/ 71 h 108"/>
                    <a:gd name="T32" fmla="*/ 54 w 108"/>
                    <a:gd name="T33" fmla="*/ 71 h 108"/>
                    <a:gd name="T34" fmla="*/ 48 w 108"/>
                    <a:gd name="T35" fmla="*/ 0 h 108"/>
                    <a:gd name="T36" fmla="*/ 38 w 108"/>
                    <a:gd name="T37" fmla="*/ 2 h 108"/>
                    <a:gd name="T38" fmla="*/ 24 w 108"/>
                    <a:gd name="T39" fmla="*/ 9 h 108"/>
                    <a:gd name="T40" fmla="*/ 9 w 108"/>
                    <a:gd name="T41" fmla="*/ 24 h 108"/>
                    <a:gd name="T42" fmla="*/ 3 w 108"/>
                    <a:gd name="T43" fmla="*/ 38 h 108"/>
                    <a:gd name="T44" fmla="*/ 0 w 108"/>
                    <a:gd name="T45" fmla="*/ 49 h 108"/>
                    <a:gd name="T46" fmla="*/ 0 w 108"/>
                    <a:gd name="T47" fmla="*/ 59 h 108"/>
                    <a:gd name="T48" fmla="*/ 3 w 108"/>
                    <a:gd name="T49" fmla="*/ 70 h 108"/>
                    <a:gd name="T50" fmla="*/ 9 w 108"/>
                    <a:gd name="T51" fmla="*/ 84 h 108"/>
                    <a:gd name="T52" fmla="*/ 24 w 108"/>
                    <a:gd name="T53" fmla="*/ 98 h 108"/>
                    <a:gd name="T54" fmla="*/ 38 w 108"/>
                    <a:gd name="T55" fmla="*/ 106 h 108"/>
                    <a:gd name="T56" fmla="*/ 48 w 108"/>
                    <a:gd name="T57" fmla="*/ 108 h 108"/>
                    <a:gd name="T58" fmla="*/ 60 w 108"/>
                    <a:gd name="T59" fmla="*/ 108 h 108"/>
                    <a:gd name="T60" fmla="*/ 70 w 108"/>
                    <a:gd name="T61" fmla="*/ 106 h 108"/>
                    <a:gd name="T62" fmla="*/ 84 w 108"/>
                    <a:gd name="T63" fmla="*/ 98 h 108"/>
                    <a:gd name="T64" fmla="*/ 99 w 108"/>
                    <a:gd name="T65" fmla="*/ 84 h 108"/>
                    <a:gd name="T66" fmla="*/ 105 w 108"/>
                    <a:gd name="T67" fmla="*/ 70 h 108"/>
                    <a:gd name="T68" fmla="*/ 107 w 108"/>
                    <a:gd name="T69" fmla="*/ 59 h 108"/>
                    <a:gd name="T70" fmla="*/ 107 w 108"/>
                    <a:gd name="T71" fmla="*/ 49 h 108"/>
                    <a:gd name="T72" fmla="*/ 105 w 108"/>
                    <a:gd name="T73" fmla="*/ 38 h 108"/>
                    <a:gd name="T74" fmla="*/ 99 w 108"/>
                    <a:gd name="T75" fmla="*/ 24 h 108"/>
                    <a:gd name="T76" fmla="*/ 84 w 108"/>
                    <a:gd name="T77" fmla="*/ 9 h 108"/>
                    <a:gd name="T78" fmla="*/ 70 w 108"/>
                    <a:gd name="T79" fmla="*/ 2 h 108"/>
                    <a:gd name="T80" fmla="*/ 60 w 108"/>
                    <a:gd name="T8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8" h="108">
                      <a:moveTo>
                        <a:pt x="54" y="71"/>
                      </a:moveTo>
                      <a:lnTo>
                        <a:pt x="50" y="71"/>
                      </a:lnTo>
                      <a:lnTo>
                        <a:pt x="47" y="70"/>
                      </a:lnTo>
                      <a:lnTo>
                        <a:pt x="44" y="69"/>
                      </a:lnTo>
                      <a:lnTo>
                        <a:pt x="42" y="67"/>
                      </a:lnTo>
                      <a:lnTo>
                        <a:pt x="39" y="64"/>
                      </a:lnTo>
                      <a:lnTo>
                        <a:pt x="37" y="60"/>
                      </a:lnTo>
                      <a:lnTo>
                        <a:pt x="36" y="57"/>
                      </a:lnTo>
                      <a:lnTo>
                        <a:pt x="36" y="54"/>
                      </a:lnTo>
                      <a:lnTo>
                        <a:pt x="36" y="50"/>
                      </a:lnTo>
                      <a:lnTo>
                        <a:pt x="37" y="46"/>
                      </a:lnTo>
                      <a:lnTo>
                        <a:pt x="39" y="44"/>
                      </a:lnTo>
                      <a:lnTo>
                        <a:pt x="42" y="41"/>
                      </a:lnTo>
                      <a:lnTo>
                        <a:pt x="44" y="39"/>
                      </a:lnTo>
                      <a:lnTo>
                        <a:pt x="47" y="37"/>
                      </a:lnTo>
                      <a:lnTo>
                        <a:pt x="50" y="37"/>
                      </a:lnTo>
                      <a:lnTo>
                        <a:pt x="54" y="36"/>
                      </a:lnTo>
                      <a:lnTo>
                        <a:pt x="58" y="37"/>
                      </a:lnTo>
                      <a:lnTo>
                        <a:pt x="61" y="37"/>
                      </a:lnTo>
                      <a:lnTo>
                        <a:pt x="64" y="39"/>
                      </a:lnTo>
                      <a:lnTo>
                        <a:pt x="66" y="41"/>
                      </a:lnTo>
                      <a:lnTo>
                        <a:pt x="69" y="44"/>
                      </a:lnTo>
                      <a:lnTo>
                        <a:pt x="71" y="46"/>
                      </a:lnTo>
                      <a:lnTo>
                        <a:pt x="72" y="50"/>
                      </a:lnTo>
                      <a:lnTo>
                        <a:pt x="72" y="54"/>
                      </a:lnTo>
                      <a:lnTo>
                        <a:pt x="72" y="57"/>
                      </a:lnTo>
                      <a:lnTo>
                        <a:pt x="71" y="60"/>
                      </a:lnTo>
                      <a:lnTo>
                        <a:pt x="69" y="64"/>
                      </a:lnTo>
                      <a:lnTo>
                        <a:pt x="66" y="67"/>
                      </a:lnTo>
                      <a:lnTo>
                        <a:pt x="64" y="69"/>
                      </a:lnTo>
                      <a:lnTo>
                        <a:pt x="61" y="70"/>
                      </a:lnTo>
                      <a:lnTo>
                        <a:pt x="58" y="71"/>
                      </a:lnTo>
                      <a:lnTo>
                        <a:pt x="54" y="71"/>
                      </a:lnTo>
                      <a:lnTo>
                        <a:pt x="54" y="71"/>
                      </a:lnTo>
                      <a:close/>
                      <a:moveTo>
                        <a:pt x="54" y="0"/>
                      </a:moveTo>
                      <a:lnTo>
                        <a:pt x="48" y="0"/>
                      </a:lnTo>
                      <a:lnTo>
                        <a:pt x="43" y="1"/>
                      </a:lnTo>
                      <a:lnTo>
                        <a:pt x="38" y="2"/>
                      </a:lnTo>
                      <a:lnTo>
                        <a:pt x="33" y="4"/>
                      </a:lnTo>
                      <a:lnTo>
                        <a:pt x="24" y="9"/>
                      </a:lnTo>
                      <a:lnTo>
                        <a:pt x="16" y="15"/>
                      </a:lnTo>
                      <a:lnTo>
                        <a:pt x="9" y="24"/>
                      </a:lnTo>
                      <a:lnTo>
                        <a:pt x="4" y="32"/>
                      </a:lnTo>
                      <a:lnTo>
                        <a:pt x="3" y="38"/>
                      </a:lnTo>
                      <a:lnTo>
                        <a:pt x="2" y="43"/>
                      </a:lnTo>
                      <a:lnTo>
                        <a:pt x="0" y="49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4" y="75"/>
                      </a:lnTo>
                      <a:lnTo>
                        <a:pt x="9" y="84"/>
                      </a:lnTo>
                      <a:lnTo>
                        <a:pt x="16" y="92"/>
                      </a:lnTo>
                      <a:lnTo>
                        <a:pt x="24" y="98"/>
                      </a:lnTo>
                      <a:lnTo>
                        <a:pt x="33" y="104"/>
                      </a:lnTo>
                      <a:lnTo>
                        <a:pt x="38" y="106"/>
                      </a:lnTo>
                      <a:lnTo>
                        <a:pt x="43" y="107"/>
                      </a:lnTo>
                      <a:lnTo>
                        <a:pt x="48" y="108"/>
                      </a:lnTo>
                      <a:lnTo>
                        <a:pt x="54" y="108"/>
                      </a:lnTo>
                      <a:lnTo>
                        <a:pt x="60" y="108"/>
                      </a:lnTo>
                      <a:lnTo>
                        <a:pt x="65" y="107"/>
                      </a:lnTo>
                      <a:lnTo>
                        <a:pt x="70" y="106"/>
                      </a:lnTo>
                      <a:lnTo>
                        <a:pt x="75" y="104"/>
                      </a:lnTo>
                      <a:lnTo>
                        <a:pt x="84" y="98"/>
                      </a:lnTo>
                      <a:lnTo>
                        <a:pt x="92" y="92"/>
                      </a:lnTo>
                      <a:lnTo>
                        <a:pt x="99" y="84"/>
                      </a:lnTo>
                      <a:lnTo>
                        <a:pt x="104" y="75"/>
                      </a:lnTo>
                      <a:lnTo>
                        <a:pt x="105" y="70"/>
                      </a:lnTo>
                      <a:lnTo>
                        <a:pt x="107" y="65"/>
                      </a:lnTo>
                      <a:lnTo>
                        <a:pt x="107" y="59"/>
                      </a:lnTo>
                      <a:lnTo>
                        <a:pt x="108" y="54"/>
                      </a:lnTo>
                      <a:lnTo>
                        <a:pt x="107" y="49"/>
                      </a:lnTo>
                      <a:lnTo>
                        <a:pt x="107" y="43"/>
                      </a:lnTo>
                      <a:lnTo>
                        <a:pt x="105" y="38"/>
                      </a:lnTo>
                      <a:lnTo>
                        <a:pt x="104" y="32"/>
                      </a:lnTo>
                      <a:lnTo>
                        <a:pt x="99" y="24"/>
                      </a:lnTo>
                      <a:lnTo>
                        <a:pt x="92" y="15"/>
                      </a:lnTo>
                      <a:lnTo>
                        <a:pt x="84" y="9"/>
                      </a:lnTo>
                      <a:lnTo>
                        <a:pt x="75" y="4"/>
                      </a:lnTo>
                      <a:lnTo>
                        <a:pt x="70" y="2"/>
                      </a:lnTo>
                      <a:lnTo>
                        <a:pt x="65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39039"/>
                    </a:gs>
                    <a:gs pos="0">
                      <a:srgbClr val="439039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思源宋体 CN Medium" panose="02020500000000000000" pitchFamily="18" charset="-122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C14CE25D-882A-EFAA-6FD9-B130D07EC94D}"/>
                </a:ext>
              </a:extLst>
            </p:cNvPr>
            <p:cNvSpPr txBox="1"/>
            <p:nvPr/>
          </p:nvSpPr>
          <p:spPr>
            <a:xfrm>
              <a:off x="1940937" y="5083700"/>
              <a:ext cx="4025910" cy="5985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ct val="110000"/>
                </a:lnSpc>
                <a:defRPr sz="1500">
                  <a:solidFill>
                    <a:srgbClr val="2F4282"/>
                  </a:solidFill>
                  <a:latin typeface="字魂58号-创中黑-Regular" panose="00000500000000000000" pitchFamily="2" charset="-122"/>
                  <a:ea typeface="字魂58号-创中黑-Regular" panose="00000500000000000000" pitchFamily="2" charset="-122"/>
                </a:defRPr>
              </a:lvl1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600" kern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点击按钮退出游戏</a:t>
              </a:r>
              <a:endPara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  <p:sp>
          <p:nvSpPr>
            <p:cNvPr id="41" name="TextBox 7">
              <a:extLst>
                <a:ext uri="{FF2B5EF4-FFF2-40B4-BE49-F238E27FC236}">
                  <a16:creationId xmlns:a16="http://schemas.microsoft.com/office/drawing/2014/main" id="{36D7ED52-FD6D-4D99-F704-327B59D284A6}"/>
                </a:ext>
              </a:extLst>
            </p:cNvPr>
            <p:cNvSpPr txBox="1"/>
            <p:nvPr/>
          </p:nvSpPr>
          <p:spPr>
            <a:xfrm>
              <a:off x="1945923" y="4777595"/>
              <a:ext cx="2315078" cy="59610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b="1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思源宋体 CN Medium" charset="0"/>
                  <a:ea typeface="思源宋体 CN Medium" charset="0"/>
                  <a:cs typeface="等线" panose="02010600030101010101" charset="-122"/>
                  <a:sym typeface="+mn-lt"/>
                </a:rPr>
                <a:t>退出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思源宋体 CN Medium" panose="02020500000000000000" pitchFamily="18" charset="-122"/>
                <a:ea typeface="思源宋体 CN Medium" panose="02020500000000000000" pitchFamily="18" charset="-122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5205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b250b8a0-749e-4bba-9bfc-0a742d671d77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02E6F"/>
      </a:accent1>
      <a:accent2>
        <a:srgbClr val="EE6190"/>
      </a:accent2>
      <a:accent3>
        <a:srgbClr val="285193"/>
      </a:accent3>
      <a:accent4>
        <a:srgbClr val="20A8D2"/>
      </a:accent4>
      <a:accent5>
        <a:srgbClr val="3C4E75"/>
      </a:accent5>
      <a:accent6>
        <a:srgbClr val="A9A9A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02E6F"/>
    </a:accent1>
    <a:accent2>
      <a:srgbClr val="EE6190"/>
    </a:accent2>
    <a:accent3>
      <a:srgbClr val="285193"/>
    </a:accent3>
    <a:accent4>
      <a:srgbClr val="20A8D2"/>
    </a:accent4>
    <a:accent5>
      <a:srgbClr val="3C4E75"/>
    </a:accent5>
    <a:accent6>
      <a:srgbClr val="A9A9A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0</TotalTime>
  <Words>807</Words>
  <Application>Microsoft Office PowerPoint</Application>
  <PresentationFormat>宽屏</PresentationFormat>
  <Paragraphs>79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6" baseType="lpstr">
      <vt:lpstr>思源宋体 CN Medium</vt:lpstr>
      <vt:lpstr>字魂58号-创中黑-Regular</vt:lpstr>
      <vt:lpstr>Arial</vt:lpstr>
      <vt:lpstr>Calibri</vt:lpstr>
      <vt:lpstr>Impact</vt:lpstr>
      <vt:lpstr>Times New Roman</vt:lpstr>
      <vt:lpstr>主题5</vt:lpstr>
      <vt:lpstr>think-cell Slide</vt:lpstr>
      <vt:lpstr>Unity 3D 塔防游戏</vt:lpstr>
      <vt:lpstr>PowerPoint 演示文稿</vt:lpstr>
      <vt:lpstr>游戏背景</vt:lpstr>
      <vt:lpstr>游戏背景</vt:lpstr>
      <vt:lpstr>游戏介绍</vt:lpstr>
      <vt:lpstr>游戏场景</vt:lpstr>
      <vt:lpstr>游戏特点</vt:lpstr>
      <vt:lpstr>游戏玩法设计</vt:lpstr>
      <vt:lpstr>开始游戏</vt:lpstr>
      <vt:lpstr>进入游戏</vt:lpstr>
      <vt:lpstr>游戏操作</vt:lpstr>
      <vt:lpstr>退出与结束</vt:lpstr>
      <vt:lpstr>用户交互设计</vt:lpstr>
      <vt:lpstr>玩家视角移动</vt:lpstr>
      <vt:lpstr>炮台和角色的放置</vt:lpstr>
      <vt:lpstr>攻击效果和血条</vt:lpstr>
      <vt:lpstr>游戏演示</vt:lpstr>
      <vt:lpstr>感谢聆听 请老师批评指正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浩泽 吴</cp:lastModifiedBy>
  <cp:revision>7</cp:revision>
  <cp:lastPrinted>2019-09-11T16:00:00Z</cp:lastPrinted>
  <dcterms:created xsi:type="dcterms:W3CDTF">2019-09-11T16:00:00Z</dcterms:created>
  <dcterms:modified xsi:type="dcterms:W3CDTF">2023-06-16T06:5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